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xlsm" ContentType="application/vnd.ms-excel.sheet.macroEnabled.12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10"/>
  </p:notesMasterIdLst>
  <p:sldIdLst>
    <p:sldId id="257" r:id="rId2"/>
    <p:sldId id="258" r:id="rId3"/>
    <p:sldId id="259" r:id="rId4"/>
    <p:sldId id="263" r:id="rId5"/>
    <p:sldId id="260" r:id="rId6"/>
    <p:sldId id="261" r:id="rId7"/>
    <p:sldId id="262" r:id="rId8"/>
    <p:sldId id="264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D7D7D"/>
    <a:srgbClr val="29ABE2"/>
    <a:srgbClr val="424143"/>
    <a:srgbClr val="118A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17"/>
    <p:restoredTop sz="94674"/>
  </p:normalViewPr>
  <p:slideViewPr>
    <p:cSldViewPr snapToGrid="0" snapToObjects="1">
      <p:cViewPr varScale="1">
        <p:scale>
          <a:sx n="97" d="100"/>
          <a:sy n="97" d="100"/>
        </p:scale>
        <p:origin x="208" y="2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1.xlsm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689655172413793"/>
          <c:y val="0.0706713780918728"/>
          <c:w val="0.923076923076923"/>
          <c:h val="0.862190812720848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25314">
              <a:solidFill>
                <a:srgbClr val="29ABE2"/>
              </a:solidFill>
              <a:prstDash val="solid"/>
            </a:ln>
          </c:spPr>
          <c:marker>
            <c:symbol val="none"/>
          </c:marker>
          <c:xVal>
            <c:numRef>
              <c:f>Sheet1!$B$1:$IP$1</c:f>
              <c:numCache>
                <c:formatCode>General</c:formatCode>
                <c:ptCount val="249"/>
                <c:pt idx="0">
                  <c:v>9862.00000000112</c:v>
                </c:pt>
                <c:pt idx="1">
                  <c:v>9893.000000001124</c:v>
                </c:pt>
                <c:pt idx="2">
                  <c:v>9921.000000001127</c:v>
                </c:pt>
                <c:pt idx="3">
                  <c:v>9952.000000001131</c:v>
                </c:pt>
                <c:pt idx="4">
                  <c:v>9982.000000001135</c:v>
                </c:pt>
                <c:pt idx="5">
                  <c:v>10013.00000000114</c:v>
                </c:pt>
                <c:pt idx="6">
                  <c:v>10043.00000000114</c:v>
                </c:pt>
                <c:pt idx="7">
                  <c:v>10074.00000000115</c:v>
                </c:pt>
                <c:pt idx="8">
                  <c:v>10105.00000000115</c:v>
                </c:pt>
                <c:pt idx="9">
                  <c:v>10135.00000000115</c:v>
                </c:pt>
                <c:pt idx="10">
                  <c:v>10166.00000000116</c:v>
                </c:pt>
                <c:pt idx="11">
                  <c:v>10196.00000000116</c:v>
                </c:pt>
                <c:pt idx="12">
                  <c:v>10227.00000000116</c:v>
                </c:pt>
                <c:pt idx="13">
                  <c:v>10258.00000000117</c:v>
                </c:pt>
                <c:pt idx="14">
                  <c:v>10286.00000000117</c:v>
                </c:pt>
                <c:pt idx="15">
                  <c:v>10317.00000000117</c:v>
                </c:pt>
                <c:pt idx="16">
                  <c:v>10347.00000000118</c:v>
                </c:pt>
                <c:pt idx="17">
                  <c:v>10378.00000000118</c:v>
                </c:pt>
                <c:pt idx="18">
                  <c:v>10408.00000000118</c:v>
                </c:pt>
                <c:pt idx="19">
                  <c:v>10439.00000000119</c:v>
                </c:pt>
                <c:pt idx="20">
                  <c:v>10470.00000000119</c:v>
                </c:pt>
                <c:pt idx="21">
                  <c:v>10500.00000000119</c:v>
                </c:pt>
                <c:pt idx="22">
                  <c:v>10531.0000000012</c:v>
                </c:pt>
                <c:pt idx="23">
                  <c:v>10561.0000000012</c:v>
                </c:pt>
                <c:pt idx="24">
                  <c:v>10592.0000000012</c:v>
                </c:pt>
                <c:pt idx="25">
                  <c:v>10623.00000000121</c:v>
                </c:pt>
                <c:pt idx="26">
                  <c:v>10651.00000000121</c:v>
                </c:pt>
                <c:pt idx="27">
                  <c:v>10682.00000000122</c:v>
                </c:pt>
                <c:pt idx="28">
                  <c:v>10712.00000000122</c:v>
                </c:pt>
                <c:pt idx="29">
                  <c:v>10743.00000000122</c:v>
                </c:pt>
                <c:pt idx="30">
                  <c:v>10773.00000000122</c:v>
                </c:pt>
                <c:pt idx="31">
                  <c:v>10804.00000000123</c:v>
                </c:pt>
                <c:pt idx="32">
                  <c:v>10835.00000000123</c:v>
                </c:pt>
                <c:pt idx="33">
                  <c:v>10865.00000000124</c:v>
                </c:pt>
                <c:pt idx="34">
                  <c:v>10896.00000000124</c:v>
                </c:pt>
                <c:pt idx="35">
                  <c:v>10926.00000000124</c:v>
                </c:pt>
                <c:pt idx="36">
                  <c:v>10957.00000000125</c:v>
                </c:pt>
                <c:pt idx="37">
                  <c:v>10988.00000000125</c:v>
                </c:pt>
                <c:pt idx="38">
                  <c:v>11017.00000000125</c:v>
                </c:pt>
                <c:pt idx="39">
                  <c:v>11048.00000000126</c:v>
                </c:pt>
                <c:pt idx="40">
                  <c:v>11078.00000000126</c:v>
                </c:pt>
                <c:pt idx="41">
                  <c:v>11109.00000000126</c:v>
                </c:pt>
                <c:pt idx="42">
                  <c:v>11139.00000000127</c:v>
                </c:pt>
                <c:pt idx="43">
                  <c:v>11170.00000000127</c:v>
                </c:pt>
                <c:pt idx="44">
                  <c:v>11201.00000000127</c:v>
                </c:pt>
                <c:pt idx="45">
                  <c:v>11231.00000000128</c:v>
                </c:pt>
                <c:pt idx="46">
                  <c:v>11262.00000000128</c:v>
                </c:pt>
                <c:pt idx="47">
                  <c:v>11292.00000000128</c:v>
                </c:pt>
                <c:pt idx="48">
                  <c:v>11323.00000000129</c:v>
                </c:pt>
                <c:pt idx="49">
                  <c:v>11354.00000000129</c:v>
                </c:pt>
                <c:pt idx="50">
                  <c:v>11382.00000000129</c:v>
                </c:pt>
                <c:pt idx="51">
                  <c:v>11413.0000000013</c:v>
                </c:pt>
                <c:pt idx="52">
                  <c:v>11443.0000000013</c:v>
                </c:pt>
                <c:pt idx="53">
                  <c:v>11474.0000000013</c:v>
                </c:pt>
                <c:pt idx="54">
                  <c:v>11504.00000000131</c:v>
                </c:pt>
                <c:pt idx="55">
                  <c:v>11535.00000000131</c:v>
                </c:pt>
                <c:pt idx="56">
                  <c:v>11566.00000000132</c:v>
                </c:pt>
                <c:pt idx="57">
                  <c:v>11596.00000000132</c:v>
                </c:pt>
                <c:pt idx="58">
                  <c:v>11627.00000000132</c:v>
                </c:pt>
                <c:pt idx="59">
                  <c:v>11657.00000000133</c:v>
                </c:pt>
                <c:pt idx="60">
                  <c:v>11688.00000000133</c:v>
                </c:pt>
                <c:pt idx="61">
                  <c:v>11719.00000000133</c:v>
                </c:pt>
                <c:pt idx="62">
                  <c:v>11747.00000000134</c:v>
                </c:pt>
                <c:pt idx="63">
                  <c:v>11778.00000000134</c:v>
                </c:pt>
                <c:pt idx="64">
                  <c:v>11808.00000000134</c:v>
                </c:pt>
                <c:pt idx="65">
                  <c:v>11839.00000000135</c:v>
                </c:pt>
                <c:pt idx="66">
                  <c:v>11869.00000000135</c:v>
                </c:pt>
                <c:pt idx="67">
                  <c:v>11900.00000000135</c:v>
                </c:pt>
                <c:pt idx="68">
                  <c:v>11931.00000000136</c:v>
                </c:pt>
                <c:pt idx="69">
                  <c:v>11961.00000000136</c:v>
                </c:pt>
                <c:pt idx="70">
                  <c:v>11992.00000000136</c:v>
                </c:pt>
                <c:pt idx="71">
                  <c:v>12022.00000000137</c:v>
                </c:pt>
                <c:pt idx="72">
                  <c:v>12053.00000000137</c:v>
                </c:pt>
                <c:pt idx="73">
                  <c:v>12084.00000000137</c:v>
                </c:pt>
                <c:pt idx="74">
                  <c:v>12112.00000000138</c:v>
                </c:pt>
                <c:pt idx="75">
                  <c:v>12143.00000000138</c:v>
                </c:pt>
                <c:pt idx="76">
                  <c:v>12173.00000000138</c:v>
                </c:pt>
                <c:pt idx="77">
                  <c:v>12204.00000000139</c:v>
                </c:pt>
                <c:pt idx="78">
                  <c:v>12234.00000000139</c:v>
                </c:pt>
                <c:pt idx="79">
                  <c:v>12265.0000000014</c:v>
                </c:pt>
                <c:pt idx="80">
                  <c:v>12296.0000000014</c:v>
                </c:pt>
                <c:pt idx="81">
                  <c:v>12326.0000000014</c:v>
                </c:pt>
                <c:pt idx="82">
                  <c:v>12357.0000000014</c:v>
                </c:pt>
                <c:pt idx="83">
                  <c:v>12387.00000000141</c:v>
                </c:pt>
                <c:pt idx="84">
                  <c:v>12418.00000000141</c:v>
                </c:pt>
                <c:pt idx="85">
                  <c:v>12449.00000000142</c:v>
                </c:pt>
                <c:pt idx="86">
                  <c:v>12478.00000000142</c:v>
                </c:pt>
                <c:pt idx="87">
                  <c:v>12509.00000000142</c:v>
                </c:pt>
                <c:pt idx="88">
                  <c:v>12539.00000000143</c:v>
                </c:pt>
                <c:pt idx="89">
                  <c:v>12570.00000000143</c:v>
                </c:pt>
                <c:pt idx="90">
                  <c:v>12600.00000000143</c:v>
                </c:pt>
                <c:pt idx="91">
                  <c:v>12631.00000000144</c:v>
                </c:pt>
                <c:pt idx="92">
                  <c:v>12662.00000000144</c:v>
                </c:pt>
                <c:pt idx="93">
                  <c:v>12692.00000000144</c:v>
                </c:pt>
                <c:pt idx="94">
                  <c:v>12723.00000000145</c:v>
                </c:pt>
                <c:pt idx="95">
                  <c:v>12753.00000000145</c:v>
                </c:pt>
                <c:pt idx="96">
                  <c:v>12784.00000000145</c:v>
                </c:pt>
                <c:pt idx="97">
                  <c:v>12815.00000000146</c:v>
                </c:pt>
                <c:pt idx="98">
                  <c:v>12843.00000000146</c:v>
                </c:pt>
                <c:pt idx="99">
                  <c:v>12874.00000000146</c:v>
                </c:pt>
                <c:pt idx="100">
                  <c:v>12904.00000000147</c:v>
                </c:pt>
                <c:pt idx="101">
                  <c:v>12935.00000000147</c:v>
                </c:pt>
                <c:pt idx="102">
                  <c:v>12965.00000000147</c:v>
                </c:pt>
                <c:pt idx="103">
                  <c:v>12996.00000000148</c:v>
                </c:pt>
                <c:pt idx="104">
                  <c:v>13027.00000000148</c:v>
                </c:pt>
                <c:pt idx="105">
                  <c:v>13057.00000000148</c:v>
                </c:pt>
                <c:pt idx="106">
                  <c:v>13088.00000000149</c:v>
                </c:pt>
                <c:pt idx="107">
                  <c:v>13118.00000000149</c:v>
                </c:pt>
                <c:pt idx="108">
                  <c:v>13149.0000000015</c:v>
                </c:pt>
                <c:pt idx="109">
                  <c:v>13180.0000000015</c:v>
                </c:pt>
                <c:pt idx="110">
                  <c:v>13208.0000000015</c:v>
                </c:pt>
                <c:pt idx="111">
                  <c:v>13239.0000000015</c:v>
                </c:pt>
                <c:pt idx="112">
                  <c:v>13269.00000000151</c:v>
                </c:pt>
                <c:pt idx="113">
                  <c:v>13300.00000000151</c:v>
                </c:pt>
                <c:pt idx="114">
                  <c:v>13330.00000000152</c:v>
                </c:pt>
                <c:pt idx="115">
                  <c:v>13361.00000000152</c:v>
                </c:pt>
                <c:pt idx="116">
                  <c:v>13392.00000000152</c:v>
                </c:pt>
                <c:pt idx="117">
                  <c:v>13422.00000000153</c:v>
                </c:pt>
                <c:pt idx="118">
                  <c:v>13453.00000000153</c:v>
                </c:pt>
                <c:pt idx="119">
                  <c:v>13483.00000000153</c:v>
                </c:pt>
                <c:pt idx="120">
                  <c:v>13514.00000000154</c:v>
                </c:pt>
                <c:pt idx="121">
                  <c:v>13545.00000000154</c:v>
                </c:pt>
                <c:pt idx="122">
                  <c:v>13573.00000000154</c:v>
                </c:pt>
                <c:pt idx="123">
                  <c:v>13604.00000000155</c:v>
                </c:pt>
                <c:pt idx="124">
                  <c:v>13634.00000000155</c:v>
                </c:pt>
                <c:pt idx="125">
                  <c:v>13665.00000000155</c:v>
                </c:pt>
                <c:pt idx="126">
                  <c:v>13695.00000000156</c:v>
                </c:pt>
                <c:pt idx="127">
                  <c:v>13726.00000000156</c:v>
                </c:pt>
                <c:pt idx="128">
                  <c:v>13757.00000000156</c:v>
                </c:pt>
                <c:pt idx="129">
                  <c:v>13787.00000000157</c:v>
                </c:pt>
                <c:pt idx="130">
                  <c:v>13818.00000000157</c:v>
                </c:pt>
                <c:pt idx="131">
                  <c:v>13848.00000000158</c:v>
                </c:pt>
                <c:pt idx="132">
                  <c:v>13879.00000000158</c:v>
                </c:pt>
                <c:pt idx="133">
                  <c:v>13910.00000000158</c:v>
                </c:pt>
                <c:pt idx="134">
                  <c:v>13939.00000000158</c:v>
                </c:pt>
                <c:pt idx="135">
                  <c:v>13970.00000000159</c:v>
                </c:pt>
                <c:pt idx="136">
                  <c:v>14000.00000000159</c:v>
                </c:pt>
                <c:pt idx="137">
                  <c:v>14031.0000000016</c:v>
                </c:pt>
                <c:pt idx="138">
                  <c:v>14061.0000000016</c:v>
                </c:pt>
                <c:pt idx="139">
                  <c:v>14092.0000000016</c:v>
                </c:pt>
                <c:pt idx="140">
                  <c:v>14123.00000000161</c:v>
                </c:pt>
                <c:pt idx="141">
                  <c:v>14153.00000000161</c:v>
                </c:pt>
                <c:pt idx="142">
                  <c:v>14184.00000000161</c:v>
                </c:pt>
                <c:pt idx="143">
                  <c:v>14214.00000000162</c:v>
                </c:pt>
                <c:pt idx="144">
                  <c:v>14245.00000000162</c:v>
                </c:pt>
                <c:pt idx="145">
                  <c:v>14276.00000000162</c:v>
                </c:pt>
                <c:pt idx="146">
                  <c:v>14304.00000000163</c:v>
                </c:pt>
                <c:pt idx="147">
                  <c:v>14335.00000000163</c:v>
                </c:pt>
                <c:pt idx="148">
                  <c:v>14365.00000000163</c:v>
                </c:pt>
                <c:pt idx="149">
                  <c:v>14396.00000000164</c:v>
                </c:pt>
                <c:pt idx="150">
                  <c:v>14426.00000000164</c:v>
                </c:pt>
                <c:pt idx="151">
                  <c:v>14457.00000000164</c:v>
                </c:pt>
                <c:pt idx="152">
                  <c:v>14488.00000000165</c:v>
                </c:pt>
                <c:pt idx="153">
                  <c:v>14518.00000000165</c:v>
                </c:pt>
                <c:pt idx="154">
                  <c:v>14549.00000000165</c:v>
                </c:pt>
                <c:pt idx="155">
                  <c:v>14579.00000000166</c:v>
                </c:pt>
                <c:pt idx="156">
                  <c:v>14610.00000000166</c:v>
                </c:pt>
                <c:pt idx="157">
                  <c:v>14641.00000000166</c:v>
                </c:pt>
                <c:pt idx="158">
                  <c:v>14669.00000000167</c:v>
                </c:pt>
                <c:pt idx="159">
                  <c:v>14700.00000000167</c:v>
                </c:pt>
                <c:pt idx="160">
                  <c:v>14730.00000000168</c:v>
                </c:pt>
                <c:pt idx="161">
                  <c:v>14761.00000000168</c:v>
                </c:pt>
                <c:pt idx="162">
                  <c:v>14791.00000000168</c:v>
                </c:pt>
                <c:pt idx="163">
                  <c:v>14822.00000000168</c:v>
                </c:pt>
                <c:pt idx="164">
                  <c:v>14853.00000000169</c:v>
                </c:pt>
                <c:pt idx="165">
                  <c:v>14883.00000000169</c:v>
                </c:pt>
                <c:pt idx="166">
                  <c:v>14914.0000000017</c:v>
                </c:pt>
                <c:pt idx="167">
                  <c:v>14944.0000000017</c:v>
                </c:pt>
                <c:pt idx="168">
                  <c:v>14975.0000000017</c:v>
                </c:pt>
                <c:pt idx="169">
                  <c:v>15006.00000000171</c:v>
                </c:pt>
                <c:pt idx="170">
                  <c:v>15034.00000000171</c:v>
                </c:pt>
                <c:pt idx="171">
                  <c:v>15065.00000000171</c:v>
                </c:pt>
                <c:pt idx="172">
                  <c:v>15095.00000000172</c:v>
                </c:pt>
                <c:pt idx="173">
                  <c:v>15126.00000000172</c:v>
                </c:pt>
                <c:pt idx="174">
                  <c:v>15156.00000000172</c:v>
                </c:pt>
                <c:pt idx="175">
                  <c:v>15187.00000000173</c:v>
                </c:pt>
                <c:pt idx="176">
                  <c:v>15218.00000000173</c:v>
                </c:pt>
                <c:pt idx="177">
                  <c:v>15248.00000000173</c:v>
                </c:pt>
                <c:pt idx="178">
                  <c:v>15279.00000000174</c:v>
                </c:pt>
                <c:pt idx="179">
                  <c:v>15309.00000000174</c:v>
                </c:pt>
                <c:pt idx="180">
                  <c:v>15340.00000000174</c:v>
                </c:pt>
                <c:pt idx="181">
                  <c:v>15371.00000000175</c:v>
                </c:pt>
                <c:pt idx="182">
                  <c:v>15400.00000000175</c:v>
                </c:pt>
                <c:pt idx="183">
                  <c:v>15431.00000000175</c:v>
                </c:pt>
                <c:pt idx="184">
                  <c:v>15461.00000000176</c:v>
                </c:pt>
                <c:pt idx="185">
                  <c:v>15492.00000000176</c:v>
                </c:pt>
                <c:pt idx="186">
                  <c:v>15522.00000000176</c:v>
                </c:pt>
                <c:pt idx="187">
                  <c:v>15553.00000000177</c:v>
                </c:pt>
                <c:pt idx="188">
                  <c:v>15584.00000000177</c:v>
                </c:pt>
                <c:pt idx="189">
                  <c:v>15614.00000000178</c:v>
                </c:pt>
                <c:pt idx="190">
                  <c:v>15645.00000000178</c:v>
                </c:pt>
                <c:pt idx="191">
                  <c:v>15675.00000000178</c:v>
                </c:pt>
                <c:pt idx="192">
                  <c:v>15706.00000000179</c:v>
                </c:pt>
                <c:pt idx="193">
                  <c:v>15737.00000000179</c:v>
                </c:pt>
                <c:pt idx="194">
                  <c:v>15765.00000000179</c:v>
                </c:pt>
                <c:pt idx="195">
                  <c:v>15796.0000000018</c:v>
                </c:pt>
                <c:pt idx="196">
                  <c:v>15826.0000000018</c:v>
                </c:pt>
                <c:pt idx="197">
                  <c:v>15857.0000000018</c:v>
                </c:pt>
                <c:pt idx="198">
                  <c:v>15887.00000000181</c:v>
                </c:pt>
                <c:pt idx="199">
                  <c:v>15918.00000000181</c:v>
                </c:pt>
                <c:pt idx="200">
                  <c:v>15949.00000000181</c:v>
                </c:pt>
                <c:pt idx="201">
                  <c:v>15979.00000000182</c:v>
                </c:pt>
                <c:pt idx="202">
                  <c:v>16010.00000000182</c:v>
                </c:pt>
                <c:pt idx="203">
                  <c:v>16040.00000000182</c:v>
                </c:pt>
                <c:pt idx="204">
                  <c:v>16071.00000000183</c:v>
                </c:pt>
                <c:pt idx="205">
                  <c:v>16102.00000000183</c:v>
                </c:pt>
                <c:pt idx="206">
                  <c:v>16130.00000000183</c:v>
                </c:pt>
                <c:pt idx="207">
                  <c:v>16161.00000000184</c:v>
                </c:pt>
                <c:pt idx="208">
                  <c:v>16191.00000000184</c:v>
                </c:pt>
                <c:pt idx="209">
                  <c:v>16222.00000000184</c:v>
                </c:pt>
                <c:pt idx="210">
                  <c:v>16252.00000000185</c:v>
                </c:pt>
                <c:pt idx="211">
                  <c:v>16283.00000000185</c:v>
                </c:pt>
                <c:pt idx="212">
                  <c:v>16314.00000000186</c:v>
                </c:pt>
                <c:pt idx="213">
                  <c:v>16344.00000000186</c:v>
                </c:pt>
                <c:pt idx="214">
                  <c:v>16375.00000000186</c:v>
                </c:pt>
                <c:pt idx="215">
                  <c:v>16405.00000000187</c:v>
                </c:pt>
                <c:pt idx="216">
                  <c:v>16436.00000000187</c:v>
                </c:pt>
                <c:pt idx="217">
                  <c:v>16467.00000000187</c:v>
                </c:pt>
                <c:pt idx="218">
                  <c:v>16495.00000000187</c:v>
                </c:pt>
                <c:pt idx="219">
                  <c:v>16526.00000000188</c:v>
                </c:pt>
                <c:pt idx="220">
                  <c:v>16556.00000000188</c:v>
                </c:pt>
                <c:pt idx="221">
                  <c:v>16587.00000000188</c:v>
                </c:pt>
                <c:pt idx="222">
                  <c:v>16617.0000000019</c:v>
                </c:pt>
                <c:pt idx="223">
                  <c:v>16648.0000000019</c:v>
                </c:pt>
                <c:pt idx="224">
                  <c:v>16679.0000000019</c:v>
                </c:pt>
                <c:pt idx="225">
                  <c:v>16709.0000000019</c:v>
                </c:pt>
                <c:pt idx="226">
                  <c:v>16740.0000000019</c:v>
                </c:pt>
                <c:pt idx="227">
                  <c:v>16770.00000000191</c:v>
                </c:pt>
                <c:pt idx="228">
                  <c:v>16801.00000000191</c:v>
                </c:pt>
                <c:pt idx="229">
                  <c:v>16832.00000000191</c:v>
                </c:pt>
                <c:pt idx="230">
                  <c:v>16861.00000000192</c:v>
                </c:pt>
                <c:pt idx="231">
                  <c:v>16892.00000000192</c:v>
                </c:pt>
                <c:pt idx="232">
                  <c:v>16922.00000000192</c:v>
                </c:pt>
                <c:pt idx="233">
                  <c:v>16953.00000000193</c:v>
                </c:pt>
                <c:pt idx="234">
                  <c:v>16983.00000000193</c:v>
                </c:pt>
                <c:pt idx="235">
                  <c:v>17014.00000000194</c:v>
                </c:pt>
                <c:pt idx="236">
                  <c:v>17045.00000000194</c:v>
                </c:pt>
                <c:pt idx="237">
                  <c:v>17075.00000000194</c:v>
                </c:pt>
                <c:pt idx="238">
                  <c:v>17106.00000000195</c:v>
                </c:pt>
                <c:pt idx="239">
                  <c:v>17136.00000000195</c:v>
                </c:pt>
                <c:pt idx="240">
                  <c:v>17167.00000000195</c:v>
                </c:pt>
                <c:pt idx="241">
                  <c:v>17198.00000000195</c:v>
                </c:pt>
                <c:pt idx="242">
                  <c:v>17226.00000000196</c:v>
                </c:pt>
                <c:pt idx="243">
                  <c:v>17257.00000000196</c:v>
                </c:pt>
                <c:pt idx="244">
                  <c:v>17287.00000000196</c:v>
                </c:pt>
                <c:pt idx="245">
                  <c:v>17318.00000000197</c:v>
                </c:pt>
                <c:pt idx="246">
                  <c:v>17349.0</c:v>
                </c:pt>
                <c:pt idx="247">
                  <c:v>17380.0</c:v>
                </c:pt>
                <c:pt idx="248">
                  <c:v>17410.0</c:v>
                </c:pt>
              </c:numCache>
            </c:numRef>
          </c:xVal>
          <c:yVal>
            <c:numRef>
              <c:f>Sheet1!$B$2:$IP$2</c:f>
              <c:numCache>
                <c:formatCode>General</c:formatCode>
                <c:ptCount val="249"/>
                <c:pt idx="0">
                  <c:v>6.286711135709603</c:v>
                </c:pt>
                <c:pt idx="1">
                  <c:v>6.835514038659067</c:v>
                </c:pt>
                <c:pt idx="2">
                  <c:v>6.777556354820684</c:v>
                </c:pt>
                <c:pt idx="3">
                  <c:v>6.575257884199962</c:v>
                </c:pt>
                <c:pt idx="4">
                  <c:v>6.29774946445457</c:v>
                </c:pt>
                <c:pt idx="5">
                  <c:v>6.329634552895081</c:v>
                </c:pt>
                <c:pt idx="6">
                  <c:v>6.299227747095442</c:v>
                </c:pt>
                <c:pt idx="7">
                  <c:v>6.37668470483236</c:v>
                </c:pt>
                <c:pt idx="8">
                  <c:v>6.461973040454751</c:v>
                </c:pt>
                <c:pt idx="9">
                  <c:v>6.550110355915312</c:v>
                </c:pt>
                <c:pt idx="10">
                  <c:v>6.444577276852386</c:v>
                </c:pt>
                <c:pt idx="11">
                  <c:v>6.451329560925424</c:v>
                </c:pt>
                <c:pt idx="12">
                  <c:v>6.587351562614534</c:v>
                </c:pt>
                <c:pt idx="13">
                  <c:v>6.159044447378855</c:v>
                </c:pt>
                <c:pt idx="14">
                  <c:v>5.936595774275951</c:v>
                </c:pt>
                <c:pt idx="15">
                  <c:v>5.827820820072528</c:v>
                </c:pt>
                <c:pt idx="16">
                  <c:v>6.034506208431392</c:v>
                </c:pt>
                <c:pt idx="17">
                  <c:v>6.062443992016764</c:v>
                </c:pt>
                <c:pt idx="18">
                  <c:v>6.312372125831052</c:v>
                </c:pt>
                <c:pt idx="19">
                  <c:v>6.346351345857892</c:v>
                </c:pt>
                <c:pt idx="20">
                  <c:v>7.44709273388407</c:v>
                </c:pt>
                <c:pt idx="21">
                  <c:v>7.682510771619698</c:v>
                </c:pt>
                <c:pt idx="22">
                  <c:v>7.835512972708254</c:v>
                </c:pt>
                <c:pt idx="23">
                  <c:v>7.868313250864529</c:v>
                </c:pt>
                <c:pt idx="24">
                  <c:v>7.354902617356813</c:v>
                </c:pt>
                <c:pt idx="25">
                  <c:v>6.930496762308027</c:v>
                </c:pt>
                <c:pt idx="26">
                  <c:v>6.944166709850998</c:v>
                </c:pt>
                <c:pt idx="27">
                  <c:v>7.060440737729444</c:v>
                </c:pt>
                <c:pt idx="28">
                  <c:v>6.790205257971594</c:v>
                </c:pt>
                <c:pt idx="29">
                  <c:v>6.571041449974593</c:v>
                </c:pt>
                <c:pt idx="30">
                  <c:v>6.401219738091906</c:v>
                </c:pt>
                <c:pt idx="31">
                  <c:v>6.27346966114868</c:v>
                </c:pt>
                <c:pt idx="32">
                  <c:v>5.184121270270843</c:v>
                </c:pt>
                <c:pt idx="33">
                  <c:v>4.925189453114891</c:v>
                </c:pt>
                <c:pt idx="34">
                  <c:v>4.71131322315226</c:v>
                </c:pt>
                <c:pt idx="35">
                  <c:v>4.492474945917356</c:v>
                </c:pt>
                <c:pt idx="36">
                  <c:v>4.554781377172874</c:v>
                </c:pt>
                <c:pt idx="37">
                  <c:v>4.725929867212029</c:v>
                </c:pt>
                <c:pt idx="38">
                  <c:v>4.783604946258124</c:v>
                </c:pt>
                <c:pt idx="39">
                  <c:v>4.382198253809154</c:v>
                </c:pt>
                <c:pt idx="40">
                  <c:v>4.374310457698876</c:v>
                </c:pt>
                <c:pt idx="41">
                  <c:v>4.673190463604391</c:v>
                </c:pt>
                <c:pt idx="42">
                  <c:v>4.70356413529465</c:v>
                </c:pt>
                <c:pt idx="43">
                  <c:v>4.512458630141977</c:v>
                </c:pt>
                <c:pt idx="44">
                  <c:v>4.471556764422638</c:v>
                </c:pt>
                <c:pt idx="45">
                  <c:v>4.297667722139308</c:v>
                </c:pt>
                <c:pt idx="46">
                  <c:v>4.356369809617651</c:v>
                </c:pt>
                <c:pt idx="47">
                  <c:v>4.286830549922604</c:v>
                </c:pt>
                <c:pt idx="48">
                  <c:v>4.213126549618036</c:v>
                </c:pt>
                <c:pt idx="49">
                  <c:v>4.053611751021163</c:v>
                </c:pt>
                <c:pt idx="50">
                  <c:v>4.002572036381751</c:v>
                </c:pt>
                <c:pt idx="51">
                  <c:v>4.50279068424877</c:v>
                </c:pt>
                <c:pt idx="52">
                  <c:v>4.850279041212598</c:v>
                </c:pt>
                <c:pt idx="53">
                  <c:v>4.754900298844446</c:v>
                </c:pt>
                <c:pt idx="54">
                  <c:v>4.391397802430019</c:v>
                </c:pt>
                <c:pt idx="55">
                  <c:v>4.39326879055661</c:v>
                </c:pt>
                <c:pt idx="56">
                  <c:v>4.254298260669072</c:v>
                </c:pt>
                <c:pt idx="57">
                  <c:v>4.13352378249148</c:v>
                </c:pt>
                <c:pt idx="58">
                  <c:v>3.993176108696193</c:v>
                </c:pt>
                <c:pt idx="59">
                  <c:v>3.922864711360254</c:v>
                </c:pt>
                <c:pt idx="60">
                  <c:v>3.960808867506788</c:v>
                </c:pt>
                <c:pt idx="61">
                  <c:v>3.962072194953459</c:v>
                </c:pt>
                <c:pt idx="62">
                  <c:v>3.923247045249025</c:v>
                </c:pt>
                <c:pt idx="63">
                  <c:v>3.665782026458392</c:v>
                </c:pt>
                <c:pt idx="64">
                  <c:v>3.303970986895742</c:v>
                </c:pt>
                <c:pt idx="65">
                  <c:v>3.079787655495187</c:v>
                </c:pt>
                <c:pt idx="66">
                  <c:v>3.217813637954181</c:v>
                </c:pt>
                <c:pt idx="67">
                  <c:v>3.342358196832663</c:v>
                </c:pt>
                <c:pt idx="68">
                  <c:v>3.21361908441301</c:v>
                </c:pt>
                <c:pt idx="69">
                  <c:v>3.319559399143273</c:v>
                </c:pt>
                <c:pt idx="70">
                  <c:v>3.478484614932116</c:v>
                </c:pt>
                <c:pt idx="71">
                  <c:v>3.515852515176803</c:v>
                </c:pt>
                <c:pt idx="72">
                  <c:v>3.551073835316124</c:v>
                </c:pt>
                <c:pt idx="73">
                  <c:v>3.821076725022977</c:v>
                </c:pt>
                <c:pt idx="74">
                  <c:v>3.9533007563118</c:v>
                </c:pt>
                <c:pt idx="75">
                  <c:v>3.625887519496497</c:v>
                </c:pt>
                <c:pt idx="76">
                  <c:v>3.41007306787332</c:v>
                </c:pt>
                <c:pt idx="77">
                  <c:v>3.349117731320276</c:v>
                </c:pt>
                <c:pt idx="78">
                  <c:v>3.249299683443</c:v>
                </c:pt>
                <c:pt idx="79">
                  <c:v>3.160278170365775</c:v>
                </c:pt>
                <c:pt idx="80">
                  <c:v>3.21265602734938</c:v>
                </c:pt>
                <c:pt idx="81">
                  <c:v>3.082605542968215</c:v>
                </c:pt>
                <c:pt idx="82">
                  <c:v>2.861926287648157</c:v>
                </c:pt>
                <c:pt idx="83">
                  <c:v>2.848332426126156</c:v>
                </c:pt>
                <c:pt idx="84">
                  <c:v>2.770667185472146</c:v>
                </c:pt>
                <c:pt idx="85">
                  <c:v>2.50196835726892</c:v>
                </c:pt>
                <c:pt idx="86">
                  <c:v>2.446273070240757</c:v>
                </c:pt>
                <c:pt idx="87">
                  <c:v>2.6384146067855</c:v>
                </c:pt>
                <c:pt idx="88">
                  <c:v>3.078599716232294</c:v>
                </c:pt>
                <c:pt idx="89">
                  <c:v>3.275794953403905</c:v>
                </c:pt>
                <c:pt idx="90">
                  <c:v>3.275742245807062</c:v>
                </c:pt>
                <c:pt idx="91">
                  <c:v>3.306439202686249</c:v>
                </c:pt>
                <c:pt idx="92">
                  <c:v>3.18659024400115</c:v>
                </c:pt>
                <c:pt idx="93">
                  <c:v>3.46665533642122</c:v>
                </c:pt>
                <c:pt idx="94">
                  <c:v>3.471830197153975</c:v>
                </c:pt>
                <c:pt idx="95">
                  <c:v>3.28883946233451</c:v>
                </c:pt>
                <c:pt idx="96">
                  <c:v>3.117886629780341</c:v>
                </c:pt>
                <c:pt idx="97">
                  <c:v>3.258270187698679</c:v>
                </c:pt>
                <c:pt idx="98">
                  <c:v>3.298751464052716</c:v>
                </c:pt>
                <c:pt idx="99">
                  <c:v>3.425196028466727</c:v>
                </c:pt>
                <c:pt idx="100">
                  <c:v>3.05421007329846</c:v>
                </c:pt>
                <c:pt idx="101">
                  <c:v>2.860159845637647</c:v>
                </c:pt>
                <c:pt idx="102">
                  <c:v>3.151341841180625</c:v>
                </c:pt>
                <c:pt idx="103">
                  <c:v>3.208012272275971</c:v>
                </c:pt>
                <c:pt idx="104">
                  <c:v>3.637159306058604</c:v>
                </c:pt>
                <c:pt idx="105">
                  <c:v>3.660725630309563</c:v>
                </c:pt>
                <c:pt idx="106">
                  <c:v>3.385579861645745</c:v>
                </c:pt>
                <c:pt idx="107">
                  <c:v>3.39835813080325</c:v>
                </c:pt>
                <c:pt idx="108">
                  <c:v>3.651072394326975</c:v>
                </c:pt>
                <c:pt idx="109">
                  <c:v>3.442566252458526</c:v>
                </c:pt>
                <c:pt idx="110">
                  <c:v>3.23897000050143</c:v>
                </c:pt>
                <c:pt idx="111">
                  <c:v>3.379941395383024</c:v>
                </c:pt>
                <c:pt idx="112">
                  <c:v>3.71974967961164</c:v>
                </c:pt>
                <c:pt idx="113">
                  <c:v>3.909492099005817</c:v>
                </c:pt>
                <c:pt idx="114">
                  <c:v>3.760834970376342</c:v>
                </c:pt>
                <c:pt idx="115">
                  <c:v>3.659833967219777</c:v>
                </c:pt>
                <c:pt idx="116">
                  <c:v>2.968373470873824</c:v>
                </c:pt>
                <c:pt idx="117">
                  <c:v>2.485120908024257</c:v>
                </c:pt>
                <c:pt idx="118">
                  <c:v>2.712301191506025</c:v>
                </c:pt>
                <c:pt idx="119">
                  <c:v>3.075954551147236</c:v>
                </c:pt>
                <c:pt idx="120">
                  <c:v>2.80728199090857</c:v>
                </c:pt>
                <c:pt idx="121">
                  <c:v>3.025541008454502</c:v>
                </c:pt>
                <c:pt idx="122">
                  <c:v>3.178005543335611</c:v>
                </c:pt>
                <c:pt idx="123">
                  <c:v>3.070700151473098</c:v>
                </c:pt>
                <c:pt idx="124">
                  <c:v>3.092051705249551</c:v>
                </c:pt>
                <c:pt idx="125">
                  <c:v>3.125954655716745</c:v>
                </c:pt>
                <c:pt idx="126">
                  <c:v>3.148696608511383</c:v>
                </c:pt>
                <c:pt idx="127">
                  <c:v>3.151475633914</c:v>
                </c:pt>
                <c:pt idx="128">
                  <c:v>3.456320431130948</c:v>
                </c:pt>
                <c:pt idx="129">
                  <c:v>3.894476232357279</c:v>
                </c:pt>
                <c:pt idx="130">
                  <c:v>4.361007028050428</c:v>
                </c:pt>
                <c:pt idx="131">
                  <c:v>4.304578659869501</c:v>
                </c:pt>
                <c:pt idx="132">
                  <c:v>4.558680760763386</c:v>
                </c:pt>
                <c:pt idx="133">
                  <c:v>4.711786899729356</c:v>
                </c:pt>
                <c:pt idx="134">
                  <c:v>4.97958929504278</c:v>
                </c:pt>
                <c:pt idx="135">
                  <c:v>5.002492236624978</c:v>
                </c:pt>
                <c:pt idx="136">
                  <c:v>5.27254319786328</c:v>
                </c:pt>
                <c:pt idx="137">
                  <c:v>5.681222827835985</c:v>
                </c:pt>
                <c:pt idx="138">
                  <c:v>5.989309990277972</c:v>
                </c:pt>
                <c:pt idx="139">
                  <c:v>5.806058023527154</c:v>
                </c:pt>
                <c:pt idx="140">
                  <c:v>5.664065419862789</c:v>
                </c:pt>
                <c:pt idx="141">
                  <c:v>5.082612867193204</c:v>
                </c:pt>
                <c:pt idx="142">
                  <c:v>3.837718426626361</c:v>
                </c:pt>
                <c:pt idx="143">
                  <c:v>3.091103464926422</c:v>
                </c:pt>
                <c:pt idx="144">
                  <c:v>2.884359648891727</c:v>
                </c:pt>
                <c:pt idx="145">
                  <c:v>2.660102873689021</c:v>
                </c:pt>
                <c:pt idx="146">
                  <c:v>2.21299787117802</c:v>
                </c:pt>
                <c:pt idx="147">
                  <c:v>2.002667152298315</c:v>
                </c:pt>
                <c:pt idx="148">
                  <c:v>1.540879385883473</c:v>
                </c:pt>
                <c:pt idx="149">
                  <c:v>1.336305929243383</c:v>
                </c:pt>
                <c:pt idx="150">
                  <c:v>1.130733478814534</c:v>
                </c:pt>
                <c:pt idx="151">
                  <c:v>1.429688747473164</c:v>
                </c:pt>
                <c:pt idx="152">
                  <c:v>1.422166636879069</c:v>
                </c:pt>
                <c:pt idx="153">
                  <c:v>1.744412477595756</c:v>
                </c:pt>
                <c:pt idx="154">
                  <c:v>2.786191121479848</c:v>
                </c:pt>
                <c:pt idx="155">
                  <c:v>3.443883729384059</c:v>
                </c:pt>
                <c:pt idx="156">
                  <c:v>3.651952119961959</c:v>
                </c:pt>
                <c:pt idx="157">
                  <c:v>3.507501629082598</c:v>
                </c:pt>
                <c:pt idx="158">
                  <c:v>3.589877887684465</c:v>
                </c:pt>
                <c:pt idx="159">
                  <c:v>3.512077366560917</c:v>
                </c:pt>
                <c:pt idx="160">
                  <c:v>3.480318363218822</c:v>
                </c:pt>
                <c:pt idx="161">
                  <c:v>3.096435625136082</c:v>
                </c:pt>
                <c:pt idx="162">
                  <c:v>3.040349226683826</c:v>
                </c:pt>
                <c:pt idx="163">
                  <c:v>2.92002335492596</c:v>
                </c:pt>
                <c:pt idx="164">
                  <c:v>3.074206153951592</c:v>
                </c:pt>
                <c:pt idx="165">
                  <c:v>3.273725451665172</c:v>
                </c:pt>
                <c:pt idx="166">
                  <c:v>3.246321493026474</c:v>
                </c:pt>
                <c:pt idx="167">
                  <c:v>3.528055135481535</c:v>
                </c:pt>
                <c:pt idx="168">
                  <c:v>3.641049348922323</c:v>
                </c:pt>
                <c:pt idx="169">
                  <c:v>3.772413292322414</c:v>
                </c:pt>
                <c:pt idx="170">
                  <c:v>4.040425515407946</c:v>
                </c:pt>
                <c:pt idx="171">
                  <c:v>4.276949346139333</c:v>
                </c:pt>
                <c:pt idx="172">
                  <c:v>4.39676872495684</c:v>
                </c:pt>
                <c:pt idx="173">
                  <c:v>4.433565523156783</c:v>
                </c:pt>
                <c:pt idx="174">
                  <c:v>4.406665887461914</c:v>
                </c:pt>
                <c:pt idx="175">
                  <c:v>4.4555913547994</c:v>
                </c:pt>
                <c:pt idx="176">
                  <c:v>4.563900780785596</c:v>
                </c:pt>
                <c:pt idx="177">
                  <c:v>4.339578886028565</c:v>
                </c:pt>
                <c:pt idx="178">
                  <c:v>4.15547968556272</c:v>
                </c:pt>
                <c:pt idx="179">
                  <c:v>3.68958844629079</c:v>
                </c:pt>
                <c:pt idx="180">
                  <c:v>3.505797835814149</c:v>
                </c:pt>
                <c:pt idx="181">
                  <c:v>3.490007318968022</c:v>
                </c:pt>
                <c:pt idx="182">
                  <c:v>3.507585985151883</c:v>
                </c:pt>
                <c:pt idx="183">
                  <c:v>3.473975306928784</c:v>
                </c:pt>
                <c:pt idx="184">
                  <c:v>3.140858065508591</c:v>
                </c:pt>
                <c:pt idx="185">
                  <c:v>3.037692394868674</c:v>
                </c:pt>
                <c:pt idx="186">
                  <c:v>2.976005060646619</c:v>
                </c:pt>
                <c:pt idx="187">
                  <c:v>3.199391320389697</c:v>
                </c:pt>
                <c:pt idx="188">
                  <c:v>3.221229067293396</c:v>
                </c:pt>
                <c:pt idx="189">
                  <c:v>3.264926967989383</c:v>
                </c:pt>
                <c:pt idx="190">
                  <c:v>3.088185484674684</c:v>
                </c:pt>
                <c:pt idx="191">
                  <c:v>3.259690407644215</c:v>
                </c:pt>
                <c:pt idx="192">
                  <c:v>3.195015296040412</c:v>
                </c:pt>
                <c:pt idx="193">
                  <c:v>3.490402217886632</c:v>
                </c:pt>
                <c:pt idx="194">
                  <c:v>3.140122382529966</c:v>
                </c:pt>
                <c:pt idx="195">
                  <c:v>2.838757035411666</c:v>
                </c:pt>
                <c:pt idx="196">
                  <c:v>2.994893585299837</c:v>
                </c:pt>
                <c:pt idx="197">
                  <c:v>3.297394689084651</c:v>
                </c:pt>
                <c:pt idx="198">
                  <c:v>3.422205054938277</c:v>
                </c:pt>
                <c:pt idx="199">
                  <c:v>3.208477397281571</c:v>
                </c:pt>
                <c:pt idx="200">
                  <c:v>3.08373171552549</c:v>
                </c:pt>
                <c:pt idx="201">
                  <c:v>3.001379690949565</c:v>
                </c:pt>
                <c:pt idx="202">
                  <c:v>3.143018332049821</c:v>
                </c:pt>
                <c:pt idx="203">
                  <c:v>2.986896226822628</c:v>
                </c:pt>
                <c:pt idx="204">
                  <c:v>2.835362168063293</c:v>
                </c:pt>
                <c:pt idx="205">
                  <c:v>2.570026488270742</c:v>
                </c:pt>
                <c:pt idx="206">
                  <c:v>2.722932377549546</c:v>
                </c:pt>
                <c:pt idx="207">
                  <c:v>2.991289634157737</c:v>
                </c:pt>
                <c:pt idx="208">
                  <c:v>3.128924273953127</c:v>
                </c:pt>
                <c:pt idx="209">
                  <c:v>3.058770662583613</c:v>
                </c:pt>
                <c:pt idx="210">
                  <c:v>2.96752141675019</c:v>
                </c:pt>
                <c:pt idx="211">
                  <c:v>2.787639368507505</c:v>
                </c:pt>
                <c:pt idx="212">
                  <c:v>2.699453776740142</c:v>
                </c:pt>
                <c:pt idx="213">
                  <c:v>2.570119955600728</c:v>
                </c:pt>
                <c:pt idx="214">
                  <c:v>2.369909290294528</c:v>
                </c:pt>
                <c:pt idx="215">
                  <c:v>2.4059073626243</c:v>
                </c:pt>
                <c:pt idx="216">
                  <c:v>2.174400917637346</c:v>
                </c:pt>
                <c:pt idx="217">
                  <c:v>2.324743772516922</c:v>
                </c:pt>
                <c:pt idx="218">
                  <c:v>2.35473441679639</c:v>
                </c:pt>
                <c:pt idx="219">
                  <c:v>2.221469751406366</c:v>
                </c:pt>
                <c:pt idx="220">
                  <c:v>2.276021068810766</c:v>
                </c:pt>
                <c:pt idx="221">
                  <c:v>2.323396557808064</c:v>
                </c:pt>
                <c:pt idx="222">
                  <c:v>2.275252002164333</c:v>
                </c:pt>
                <c:pt idx="223">
                  <c:v>2.29374658954517</c:v>
                </c:pt>
                <c:pt idx="224">
                  <c:v>2.187120609081066</c:v>
                </c:pt>
                <c:pt idx="225">
                  <c:v>2.336907502272577</c:v>
                </c:pt>
                <c:pt idx="226">
                  <c:v>2.496517844846963</c:v>
                </c:pt>
                <c:pt idx="227">
                  <c:v>2.454396397165461</c:v>
                </c:pt>
                <c:pt idx="228">
                  <c:v>2.586420291118579</c:v>
                </c:pt>
                <c:pt idx="229">
                  <c:v>2.367555439187519</c:v>
                </c:pt>
                <c:pt idx="230">
                  <c:v>2.225153815159762</c:v>
                </c:pt>
                <c:pt idx="231">
                  <c:v>2.225333038503905</c:v>
                </c:pt>
                <c:pt idx="232">
                  <c:v>2.234291850942248</c:v>
                </c:pt>
                <c:pt idx="233">
                  <c:v>2.210828326874588</c:v>
                </c:pt>
                <c:pt idx="234">
                  <c:v>2.164644594071687</c:v>
                </c:pt>
                <c:pt idx="235">
                  <c:v>2.053690232638561</c:v>
                </c:pt>
                <c:pt idx="236">
                  <c:v>2.165877605287727</c:v>
                </c:pt>
                <c:pt idx="237">
                  <c:v>2.222120134008052</c:v>
                </c:pt>
                <c:pt idx="238">
                  <c:v>2.17174637730482</c:v>
                </c:pt>
                <c:pt idx="239">
                  <c:v>2.261825438376066</c:v>
                </c:pt>
                <c:pt idx="240">
                  <c:v>2.57524</c:v>
                </c:pt>
                <c:pt idx="241">
                  <c:v>2.47041</c:v>
                </c:pt>
                <c:pt idx="242">
                  <c:v>2.331639999999997</c:v>
                </c:pt>
                <c:pt idx="243">
                  <c:v>2.36292</c:v>
                </c:pt>
                <c:pt idx="244">
                  <c:v>2.15895</c:v>
                </c:pt>
                <c:pt idx="245">
                  <c:v>2.0276</c:v>
                </c:pt>
                <c:pt idx="246">
                  <c:v>2.03794</c:v>
                </c:pt>
                <c:pt idx="247">
                  <c:v>2.049437097</c:v>
                </c:pt>
                <c:pt idx="248">
                  <c:v>2.282411523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91578848"/>
        <c:axId val="-191577216"/>
      </c:scatterChart>
      <c:valAx>
        <c:axId val="-191578848"/>
        <c:scaling>
          <c:orientation val="minMax"/>
          <c:max val="17532.0"/>
          <c:min val="9496.0"/>
        </c:scaling>
        <c:delete val="0"/>
        <c:axPos val="b"/>
        <c:numFmt formatCode="General" sourceLinked="0"/>
        <c:majorTickMark val="none"/>
        <c:minorTickMark val="none"/>
        <c:tickLblPos val="none"/>
        <c:spPr>
          <a:noFill/>
          <a:ln w="6350">
            <a:solidFill>
              <a:srgbClr val="424143"/>
            </a:solidFill>
            <a:prstDash val="solid"/>
          </a:ln>
        </c:spPr>
        <c:crossAx val="-191577216"/>
        <c:crossesAt val="0.0"/>
        <c:crossBetween val="midCat"/>
      </c:valAx>
      <c:valAx>
        <c:axId val="-191577216"/>
        <c:scaling>
          <c:orientation val="minMax"/>
          <c:max val="8.0"/>
          <c:min val="0.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9525">
            <a:solidFill>
              <a:srgbClr val="424143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</a:defRPr>
            </a:pPr>
            <a:endParaRPr lang="en-US"/>
          </a:p>
        </c:txPr>
        <c:crossAx val="-191578848"/>
        <c:crossesAt val="9496.0"/>
        <c:crossBetween val="midCat"/>
        <c:majorUnit val="1.0"/>
      </c:valAx>
      <c:spPr>
        <a:noFill/>
        <a:ln w="25314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6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98CB-BF33-EF41-8255-CAF19EB45A73}" type="datetimeFigureOut">
              <a:rPr lang="en-US" smtClean="0"/>
              <a:t>1/5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A42749-CF84-6347-8277-5AF6865991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5661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A6AC38-8161-B446-8E13-1A782DA44792}" type="datetimeFigureOut">
              <a:rPr lang="en-US" smtClean="0"/>
              <a:t>1/5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4B297-CAFB-0047-AE47-D5E3760CC5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731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.png"/><Relationship Id="rId3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4" Type="http://schemas.openxmlformats.org/officeDocument/2006/relationships/tags" Target="../tags/tag13.xml"/><Relationship Id="rId15" Type="http://schemas.openxmlformats.org/officeDocument/2006/relationships/tags" Target="../tags/tag14.xml"/><Relationship Id="rId16" Type="http://schemas.openxmlformats.org/officeDocument/2006/relationships/tags" Target="../tags/tag15.xml"/><Relationship Id="rId17" Type="http://schemas.openxmlformats.org/officeDocument/2006/relationships/tags" Target="../tags/tag16.xml"/><Relationship Id="rId18" Type="http://schemas.openxmlformats.org/officeDocument/2006/relationships/tags" Target="../tags/tag17.xml"/><Relationship Id="rId19" Type="http://schemas.openxmlformats.org/officeDocument/2006/relationships/tags" Target="../tags/tag18.xml"/><Relationship Id="rId63" Type="http://schemas.openxmlformats.org/officeDocument/2006/relationships/tags" Target="../tags/tag62.xml"/><Relationship Id="rId64" Type="http://schemas.openxmlformats.org/officeDocument/2006/relationships/tags" Target="../tags/tag63.xml"/><Relationship Id="rId65" Type="http://schemas.openxmlformats.org/officeDocument/2006/relationships/tags" Target="../tags/tag64.xml"/><Relationship Id="rId66" Type="http://schemas.openxmlformats.org/officeDocument/2006/relationships/tags" Target="../tags/tag65.xml"/><Relationship Id="rId67" Type="http://schemas.openxmlformats.org/officeDocument/2006/relationships/tags" Target="../tags/tag66.xml"/><Relationship Id="rId68" Type="http://schemas.openxmlformats.org/officeDocument/2006/relationships/tags" Target="../tags/tag67.xml"/><Relationship Id="rId69" Type="http://schemas.openxmlformats.org/officeDocument/2006/relationships/tags" Target="../tags/tag68.xml"/><Relationship Id="rId50" Type="http://schemas.openxmlformats.org/officeDocument/2006/relationships/tags" Target="../tags/tag49.xml"/><Relationship Id="rId51" Type="http://schemas.openxmlformats.org/officeDocument/2006/relationships/tags" Target="../tags/tag50.xml"/><Relationship Id="rId52" Type="http://schemas.openxmlformats.org/officeDocument/2006/relationships/tags" Target="../tags/tag51.xml"/><Relationship Id="rId53" Type="http://schemas.openxmlformats.org/officeDocument/2006/relationships/tags" Target="../tags/tag52.xml"/><Relationship Id="rId54" Type="http://schemas.openxmlformats.org/officeDocument/2006/relationships/tags" Target="../tags/tag53.xml"/><Relationship Id="rId55" Type="http://schemas.openxmlformats.org/officeDocument/2006/relationships/tags" Target="../tags/tag54.xml"/><Relationship Id="rId56" Type="http://schemas.openxmlformats.org/officeDocument/2006/relationships/tags" Target="../tags/tag55.xml"/><Relationship Id="rId57" Type="http://schemas.openxmlformats.org/officeDocument/2006/relationships/tags" Target="../tags/tag56.xml"/><Relationship Id="rId58" Type="http://schemas.openxmlformats.org/officeDocument/2006/relationships/tags" Target="../tags/tag57.xml"/><Relationship Id="rId59" Type="http://schemas.openxmlformats.org/officeDocument/2006/relationships/tags" Target="../tags/tag58.xml"/><Relationship Id="rId40" Type="http://schemas.openxmlformats.org/officeDocument/2006/relationships/tags" Target="../tags/tag39.xml"/><Relationship Id="rId41" Type="http://schemas.openxmlformats.org/officeDocument/2006/relationships/tags" Target="../tags/tag40.xml"/><Relationship Id="rId42" Type="http://schemas.openxmlformats.org/officeDocument/2006/relationships/tags" Target="../tags/tag41.xml"/><Relationship Id="rId43" Type="http://schemas.openxmlformats.org/officeDocument/2006/relationships/tags" Target="../tags/tag42.xml"/><Relationship Id="rId44" Type="http://schemas.openxmlformats.org/officeDocument/2006/relationships/tags" Target="../tags/tag43.xml"/><Relationship Id="rId45" Type="http://schemas.openxmlformats.org/officeDocument/2006/relationships/tags" Target="../tags/tag44.xml"/><Relationship Id="rId46" Type="http://schemas.openxmlformats.org/officeDocument/2006/relationships/tags" Target="../tags/tag45.xml"/><Relationship Id="rId47" Type="http://schemas.openxmlformats.org/officeDocument/2006/relationships/tags" Target="../tags/tag46.xml"/><Relationship Id="rId48" Type="http://schemas.openxmlformats.org/officeDocument/2006/relationships/tags" Target="../tags/tag47.xml"/><Relationship Id="rId49" Type="http://schemas.openxmlformats.org/officeDocument/2006/relationships/tags" Target="../tags/tag48.xm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9" Type="http://schemas.openxmlformats.org/officeDocument/2006/relationships/tags" Target="../tags/tag8.xml"/><Relationship Id="rId30" Type="http://schemas.openxmlformats.org/officeDocument/2006/relationships/tags" Target="../tags/tag29.xml"/><Relationship Id="rId31" Type="http://schemas.openxmlformats.org/officeDocument/2006/relationships/tags" Target="../tags/tag30.xml"/><Relationship Id="rId32" Type="http://schemas.openxmlformats.org/officeDocument/2006/relationships/tags" Target="../tags/tag31.xml"/><Relationship Id="rId33" Type="http://schemas.openxmlformats.org/officeDocument/2006/relationships/tags" Target="../tags/tag32.xml"/><Relationship Id="rId34" Type="http://schemas.openxmlformats.org/officeDocument/2006/relationships/tags" Target="../tags/tag33.xml"/><Relationship Id="rId35" Type="http://schemas.openxmlformats.org/officeDocument/2006/relationships/tags" Target="../tags/tag34.xml"/><Relationship Id="rId36" Type="http://schemas.openxmlformats.org/officeDocument/2006/relationships/tags" Target="../tags/tag35.xml"/><Relationship Id="rId37" Type="http://schemas.openxmlformats.org/officeDocument/2006/relationships/tags" Target="../tags/tag36.xml"/><Relationship Id="rId38" Type="http://schemas.openxmlformats.org/officeDocument/2006/relationships/tags" Target="../tags/tag37.xml"/><Relationship Id="rId39" Type="http://schemas.openxmlformats.org/officeDocument/2006/relationships/tags" Target="../tags/tag38.xml"/><Relationship Id="rId70" Type="http://schemas.openxmlformats.org/officeDocument/2006/relationships/tags" Target="../tags/tag69.xml"/><Relationship Id="rId71" Type="http://schemas.openxmlformats.org/officeDocument/2006/relationships/tags" Target="../tags/tag70.xml"/><Relationship Id="rId72" Type="http://schemas.openxmlformats.org/officeDocument/2006/relationships/slideLayout" Target="../slideLayouts/slideLayout7.xml"/><Relationship Id="rId20" Type="http://schemas.openxmlformats.org/officeDocument/2006/relationships/tags" Target="../tags/tag19.xml"/><Relationship Id="rId21" Type="http://schemas.openxmlformats.org/officeDocument/2006/relationships/tags" Target="../tags/tag20.xml"/><Relationship Id="rId22" Type="http://schemas.openxmlformats.org/officeDocument/2006/relationships/tags" Target="../tags/tag21.xml"/><Relationship Id="rId23" Type="http://schemas.openxmlformats.org/officeDocument/2006/relationships/tags" Target="../tags/tag22.xml"/><Relationship Id="rId24" Type="http://schemas.openxmlformats.org/officeDocument/2006/relationships/tags" Target="../tags/tag23.xml"/><Relationship Id="rId25" Type="http://schemas.openxmlformats.org/officeDocument/2006/relationships/tags" Target="../tags/tag24.xml"/><Relationship Id="rId26" Type="http://schemas.openxmlformats.org/officeDocument/2006/relationships/tags" Target="../tags/tag25.xml"/><Relationship Id="rId27" Type="http://schemas.openxmlformats.org/officeDocument/2006/relationships/tags" Target="../tags/tag26.xml"/><Relationship Id="rId28" Type="http://schemas.openxmlformats.org/officeDocument/2006/relationships/tags" Target="../tags/tag27.xml"/><Relationship Id="rId29" Type="http://schemas.openxmlformats.org/officeDocument/2006/relationships/tags" Target="../tags/tag28.xml"/><Relationship Id="rId73" Type="http://schemas.openxmlformats.org/officeDocument/2006/relationships/image" Target="../media/image4.png"/><Relationship Id="rId74" Type="http://schemas.openxmlformats.org/officeDocument/2006/relationships/chart" Target="../charts/chart1.xml"/><Relationship Id="rId75" Type="http://schemas.openxmlformats.org/officeDocument/2006/relationships/oleObject" Target="../embeddings/oleObject1.bin"/><Relationship Id="rId76" Type="http://schemas.openxmlformats.org/officeDocument/2006/relationships/image" Target="../media/image6.emf"/><Relationship Id="rId60" Type="http://schemas.openxmlformats.org/officeDocument/2006/relationships/tags" Target="../tags/tag59.xml"/><Relationship Id="rId61" Type="http://schemas.openxmlformats.org/officeDocument/2006/relationships/tags" Target="../tags/tag60.xml"/><Relationship Id="rId62" Type="http://schemas.openxmlformats.org/officeDocument/2006/relationships/tags" Target="../tags/tag61.xml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9ABE2"/>
            </a:gs>
            <a:gs pos="100000">
              <a:srgbClr val="118ACB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28949" y="-1429814"/>
            <a:ext cx="9597699" cy="960089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0448" y="3110234"/>
            <a:ext cx="3033190" cy="52080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520593" y="3185969"/>
            <a:ext cx="2454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rPr>
              <a:t>Janua</a:t>
            </a:r>
            <a:r>
              <a:rPr lang="en-US" b="1" dirty="0" smtClean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rPr>
              <a:t>ry</a:t>
            </a:r>
            <a:r>
              <a:rPr lang="en-US" dirty="0" smtClean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dirty="0" smtClean="0">
                <a:solidFill>
                  <a:schemeClr val="bg1"/>
                </a:solidFill>
                <a:latin typeface="Open Sans Light" charset="0"/>
                <a:ea typeface="Open Sans Light" charset="0"/>
                <a:cs typeface="Open Sans Light" charset="0"/>
              </a:rPr>
              <a:t>2018</a:t>
            </a:r>
            <a:endParaRPr lang="en-US" dirty="0">
              <a:solidFill>
                <a:schemeClr val="bg1"/>
              </a:solidFill>
              <a:latin typeface="Open Sans Light" charset="0"/>
              <a:ea typeface="Open Sans Light" charset="0"/>
              <a:cs typeface="Open Sans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118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74440" y="-6989790"/>
            <a:ext cx="12692094" cy="1269632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9621" y="5155552"/>
            <a:ext cx="3208958" cy="55098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9363914" y="5706534"/>
            <a:ext cx="24548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29ABE2"/>
                </a:solidFill>
                <a:latin typeface="Open Sans Semibold" charset="0"/>
                <a:ea typeface="Open Sans Semibold" charset="0"/>
                <a:cs typeface="Open Sans Semibold" charset="0"/>
              </a:rPr>
              <a:t>JANUARY</a:t>
            </a:r>
            <a:r>
              <a:rPr lang="en-US" sz="1400" b="1" dirty="0" smtClean="0">
                <a:solidFill>
                  <a:srgbClr val="29ABE2"/>
                </a:solidFill>
                <a:latin typeface="Open Sans Semibold" charset="0"/>
                <a:ea typeface="Open Sans Semibold" charset="0"/>
                <a:cs typeface="Open Sans Semibold" charset="0"/>
              </a:rPr>
              <a:t> </a:t>
            </a:r>
            <a:r>
              <a:rPr lang="en-US" sz="1400" dirty="0" smtClean="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</a:rPr>
              <a:t>2018</a:t>
            </a:r>
            <a:endParaRPr lang="en-US" sz="1400" dirty="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74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00000">
            <a:off x="-3420990" y="-3228975"/>
            <a:ext cx="13420084" cy="1342455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165" y="2916936"/>
            <a:ext cx="3643737" cy="62563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416627" y="3542570"/>
            <a:ext cx="24548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29ABE2"/>
                </a:solidFill>
                <a:latin typeface="Open Sans Semibold" charset="0"/>
                <a:ea typeface="Open Sans Semibold" charset="0"/>
                <a:cs typeface="Open Sans Semibold" charset="0"/>
              </a:rPr>
              <a:t>JANUARY </a:t>
            </a:r>
            <a:r>
              <a:rPr lang="en-US" sz="1400" dirty="0" smtClean="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</a:rPr>
              <a:t>2018</a:t>
            </a:r>
            <a:endParaRPr lang="en-US" sz="1400" dirty="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4817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9ABE2"/>
            </a:gs>
            <a:gs pos="100000">
              <a:srgbClr val="118ACB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00000">
            <a:off x="-3420990" y="-3228974"/>
            <a:ext cx="13420084" cy="1342455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165" y="2916936"/>
            <a:ext cx="3643737" cy="62563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416627" y="3542570"/>
            <a:ext cx="24548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rPr>
              <a:t>JANUA</a:t>
            </a:r>
            <a:r>
              <a:rPr lang="en-US" sz="1400" b="1" dirty="0" smtClean="0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rPr>
              <a:t>RY </a:t>
            </a:r>
            <a:r>
              <a:rPr lang="en-US" sz="1400" dirty="0" smtClean="0">
                <a:solidFill>
                  <a:schemeClr val="bg1"/>
                </a:solidFill>
                <a:latin typeface="Open Sans Light" charset="0"/>
                <a:ea typeface="Open Sans Light" charset="0"/>
                <a:cs typeface="Open Sans Light" charset="0"/>
              </a:rPr>
              <a:t>2018</a:t>
            </a:r>
            <a:endParaRPr lang="en-US" sz="1400" dirty="0">
              <a:solidFill>
                <a:schemeClr val="bg1"/>
              </a:solidFill>
              <a:latin typeface="Open Sans Light" charset="0"/>
              <a:ea typeface="Open Sans Light" charset="0"/>
              <a:cs typeface="Open Sans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090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7938" y="3497057"/>
            <a:ext cx="12692094" cy="1269632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680" y="1892100"/>
            <a:ext cx="4056640" cy="69653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868594" y="6010442"/>
            <a:ext cx="24548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29ABE2"/>
                </a:solidFill>
                <a:latin typeface="Open Sans Semibold" charset="0"/>
                <a:ea typeface="Open Sans Semibold" charset="0"/>
                <a:cs typeface="Open Sans Semibold" charset="0"/>
              </a:rPr>
              <a:t>JANUA</a:t>
            </a:r>
            <a:r>
              <a:rPr lang="en-US" sz="1400" b="1" dirty="0" smtClean="0">
                <a:solidFill>
                  <a:srgbClr val="29ABE2"/>
                </a:solidFill>
                <a:latin typeface="Open Sans Semibold" charset="0"/>
                <a:ea typeface="Open Sans Semibold" charset="0"/>
                <a:cs typeface="Open Sans Semibold" charset="0"/>
              </a:rPr>
              <a:t>RY </a:t>
            </a:r>
            <a:r>
              <a:rPr lang="en-US" sz="1400" dirty="0" smtClean="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</a:rPr>
              <a:t>2018</a:t>
            </a:r>
            <a:endParaRPr lang="en-US" sz="1400" dirty="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389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4" name="Straight Connector 93"/>
          <p:cNvCxnSpPr/>
          <p:nvPr/>
        </p:nvCxnSpPr>
        <p:spPr>
          <a:xfrm>
            <a:off x="4737218" y="865814"/>
            <a:ext cx="0" cy="502791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5675092" y="865814"/>
            <a:ext cx="0" cy="502791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6612658" y="865814"/>
            <a:ext cx="0" cy="502791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7550532" y="865814"/>
            <a:ext cx="0" cy="502791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8485269" y="865814"/>
            <a:ext cx="0" cy="502791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9423143" y="865814"/>
            <a:ext cx="0" cy="502791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10360709" y="865814"/>
            <a:ext cx="0" cy="502791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75873" y="503523"/>
            <a:ext cx="24548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The Team</a:t>
            </a:r>
            <a:endParaRPr lang="en-US" sz="2400" b="1" dirty="0">
              <a:solidFill>
                <a:srgbClr val="118ACB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05F752E-F2F1-4FFE-AAD5-61996DE1B2B7}"/>
              </a:ext>
            </a:extLst>
          </p:cNvPr>
          <p:cNvSpPr/>
          <p:nvPr/>
        </p:nvSpPr>
        <p:spPr>
          <a:xfrm>
            <a:off x="10391149" y="976402"/>
            <a:ext cx="929797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rgbClr val="424143"/>
                </a:solidFill>
                <a:latin typeface="Open Sans Light" charset="0"/>
                <a:ea typeface="Open Sans Light" charset="0"/>
                <a:cs typeface="Open Sans Light" charset="0"/>
              </a:rPr>
              <a:t>2017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8DC2D64-8FDE-47D0-8EAB-908E9C62E5B9}"/>
              </a:ext>
            </a:extLst>
          </p:cNvPr>
          <p:cNvSpPr/>
          <p:nvPr/>
        </p:nvSpPr>
        <p:spPr>
          <a:xfrm>
            <a:off x="796578" y="1377952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Marcio </a:t>
            </a:r>
            <a:r>
              <a:rPr lang="pt-BR" sz="800" b="1" dirty="0" err="1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Appel</a:t>
            </a:r>
            <a:endParaRPr lang="pt-BR" sz="800" b="1" dirty="0">
              <a:solidFill>
                <a:srgbClr val="29ABE2"/>
              </a:solidFill>
              <a:latin typeface="Open Sans" charset="0"/>
              <a:ea typeface="Open Sans" charset="0"/>
              <a:cs typeface="Open Sans" charset="0"/>
            </a:endParaRPr>
          </a:p>
          <a:p>
            <a:r>
              <a:rPr lang="pt-BR" sz="800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CEO </a:t>
            </a:r>
            <a:r>
              <a:rPr lang="pt-BR" sz="800" dirty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/ CIO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5A5B31B3-5DF9-4A07-8CB4-A8F822F0A927}"/>
              </a:ext>
            </a:extLst>
          </p:cNvPr>
          <p:cNvSpPr/>
          <p:nvPr/>
        </p:nvSpPr>
        <p:spPr>
          <a:xfrm>
            <a:off x="796578" y="4158096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André </a:t>
            </a:r>
            <a:r>
              <a:rPr lang="pt-BR" sz="800" b="1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Salgado</a:t>
            </a:r>
          </a:p>
          <a:p>
            <a:r>
              <a:rPr lang="pt-BR" sz="800" dirty="0" err="1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Chief</a:t>
            </a:r>
            <a:r>
              <a:rPr lang="pt-BR" sz="800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pt-BR" sz="800" dirty="0" err="1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of</a:t>
            </a:r>
            <a:r>
              <a:rPr lang="pt-BR" sz="800" dirty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 Staff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E266D3F3-F4EB-430B-9AC1-F0FF28239F2E}"/>
              </a:ext>
            </a:extLst>
          </p:cNvPr>
          <p:cNvSpPr/>
          <p:nvPr/>
        </p:nvSpPr>
        <p:spPr>
          <a:xfrm>
            <a:off x="796578" y="1725470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Fabio </a:t>
            </a:r>
            <a:r>
              <a:rPr lang="pt-BR" sz="800" b="1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Landi</a:t>
            </a:r>
          </a:p>
          <a:p>
            <a:r>
              <a:rPr lang="pt-BR" sz="800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PM</a:t>
            </a:r>
            <a:endParaRPr lang="pt-BR" sz="800" dirty="0">
              <a:solidFill>
                <a:srgbClr val="29ABE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E84CF30-4D4C-43E7-99C3-89FB90A49287}"/>
              </a:ext>
            </a:extLst>
          </p:cNvPr>
          <p:cNvSpPr/>
          <p:nvPr/>
        </p:nvSpPr>
        <p:spPr>
          <a:xfrm>
            <a:off x="792993" y="3463060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André </a:t>
            </a:r>
            <a:r>
              <a:rPr lang="pt-BR" sz="800" b="1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Matias</a:t>
            </a:r>
          </a:p>
          <a:p>
            <a:r>
              <a:rPr lang="pt-BR" sz="800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Trading</a:t>
            </a:r>
            <a:endParaRPr lang="pt-BR" sz="800" dirty="0">
              <a:solidFill>
                <a:srgbClr val="29ABE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F90FCAEF-20AE-4B1F-A218-1F39C4E94464}"/>
              </a:ext>
            </a:extLst>
          </p:cNvPr>
          <p:cNvSpPr/>
          <p:nvPr/>
        </p:nvSpPr>
        <p:spPr>
          <a:xfrm>
            <a:off x="792993" y="3115542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José </a:t>
            </a:r>
            <a:r>
              <a:rPr lang="pt-BR" sz="800" b="1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Vieira</a:t>
            </a:r>
          </a:p>
          <a:p>
            <a:r>
              <a:rPr lang="pt-BR" sz="800" dirty="0" err="1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Chief</a:t>
            </a:r>
            <a:r>
              <a:rPr lang="pt-BR" sz="800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pt-BR" sz="800" dirty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Economis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BB0D34DE-FCF6-469F-82DB-BB812C0D5D09}"/>
              </a:ext>
            </a:extLst>
          </p:cNvPr>
          <p:cNvSpPr/>
          <p:nvPr/>
        </p:nvSpPr>
        <p:spPr>
          <a:xfrm>
            <a:off x="792993" y="2072988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Sergio </a:t>
            </a:r>
            <a:r>
              <a:rPr lang="pt-BR" sz="800" b="1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Dias</a:t>
            </a:r>
          </a:p>
          <a:p>
            <a:r>
              <a:rPr lang="pt-BR" sz="800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PM</a:t>
            </a:r>
            <a:endParaRPr lang="pt-BR" sz="800" dirty="0">
              <a:solidFill>
                <a:srgbClr val="29ABE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F9239676-2D9D-45CA-BD61-D717D65A65AC}"/>
              </a:ext>
            </a:extLst>
          </p:cNvPr>
          <p:cNvSpPr/>
          <p:nvPr/>
        </p:nvSpPr>
        <p:spPr>
          <a:xfrm>
            <a:off x="792993" y="2420506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Ruy </a:t>
            </a:r>
            <a:r>
              <a:rPr lang="pt-BR" sz="800" b="1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Alves</a:t>
            </a:r>
          </a:p>
          <a:p>
            <a:r>
              <a:rPr lang="pt-BR" sz="800" dirty="0" err="1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Equity</a:t>
            </a:r>
            <a:r>
              <a:rPr lang="pt-BR" sz="800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pt-BR" sz="800" dirty="0" err="1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Research</a:t>
            </a:r>
            <a:endParaRPr lang="pt-BR" sz="800" dirty="0">
              <a:solidFill>
                <a:srgbClr val="29ABE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43E55AD8-3390-4FE6-BDDC-AF8C102C4DA2}"/>
              </a:ext>
            </a:extLst>
          </p:cNvPr>
          <p:cNvSpPr/>
          <p:nvPr/>
        </p:nvSpPr>
        <p:spPr>
          <a:xfrm>
            <a:off x="792993" y="2768024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Fernando </a:t>
            </a:r>
            <a:r>
              <a:rPr lang="pt-BR" sz="800" b="1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Gonçalves</a:t>
            </a:r>
          </a:p>
          <a:p>
            <a:r>
              <a:rPr lang="pt-BR" sz="800" dirty="0" err="1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Equity</a:t>
            </a:r>
            <a:r>
              <a:rPr lang="pt-BR" sz="800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pt-BR" sz="800" dirty="0" err="1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Research</a:t>
            </a:r>
            <a:endParaRPr lang="pt-BR" sz="800" dirty="0">
              <a:solidFill>
                <a:srgbClr val="29ABE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4AC8B5B1-3993-437C-B178-15347E52169C}"/>
              </a:ext>
            </a:extLst>
          </p:cNvPr>
          <p:cNvSpPr/>
          <p:nvPr/>
        </p:nvSpPr>
        <p:spPr>
          <a:xfrm>
            <a:off x="792993" y="3810578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Moisés </a:t>
            </a:r>
            <a:r>
              <a:rPr lang="pt-BR" sz="800" b="1" dirty="0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Andrade</a:t>
            </a:r>
          </a:p>
          <a:p>
            <a:r>
              <a:rPr lang="pt-BR" sz="800" dirty="0" err="1" smtClean="0">
                <a:solidFill>
                  <a:srgbClr val="29ABE2"/>
                </a:solidFill>
                <a:latin typeface="Open Sans" charset="0"/>
                <a:ea typeface="Open Sans" charset="0"/>
                <a:cs typeface="Open Sans" charset="0"/>
              </a:rPr>
              <a:t>Economist</a:t>
            </a:r>
            <a:endParaRPr lang="pt-BR" sz="800" dirty="0">
              <a:solidFill>
                <a:srgbClr val="29ABE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CDB49704-BCD8-487E-A1ED-0DF23935479E}"/>
              </a:ext>
            </a:extLst>
          </p:cNvPr>
          <p:cNvSpPr/>
          <p:nvPr/>
        </p:nvSpPr>
        <p:spPr>
          <a:xfrm>
            <a:off x="792993" y="5200650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Camila </a:t>
            </a:r>
            <a:r>
              <a:rPr lang="pt-BR" sz="800" b="1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Souza</a:t>
            </a:r>
          </a:p>
          <a:p>
            <a:r>
              <a:rPr lang="pt-BR" sz="800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COO</a:t>
            </a:r>
            <a:endParaRPr lang="pt-BR" sz="800" dirty="0">
              <a:solidFill>
                <a:srgbClr val="7D7D7D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F22B6DBB-546D-4FD4-80C3-98766B3D1CB2}"/>
              </a:ext>
            </a:extLst>
          </p:cNvPr>
          <p:cNvSpPr/>
          <p:nvPr/>
        </p:nvSpPr>
        <p:spPr>
          <a:xfrm>
            <a:off x="792993" y="4505614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Guilherme </a:t>
            </a:r>
            <a:r>
              <a:rPr lang="pt-BR" sz="800" b="1" dirty="0" err="1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Rafare</a:t>
            </a:r>
            <a:endParaRPr lang="pt-BR" sz="800" b="1" dirty="0" smtClean="0">
              <a:solidFill>
                <a:srgbClr val="7D7D7D"/>
              </a:solidFill>
              <a:latin typeface="Open Sans" charset="0"/>
              <a:ea typeface="Open Sans" charset="0"/>
              <a:cs typeface="Open Sans" charset="0"/>
            </a:endParaRPr>
          </a:p>
          <a:p>
            <a:r>
              <a:rPr lang="pt-BR" sz="800" dirty="0" err="1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Risk</a:t>
            </a:r>
            <a:r>
              <a:rPr lang="pt-BR" sz="800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pt-BR" sz="800" dirty="0" err="1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Compliance</a:t>
            </a:r>
            <a:endParaRPr lang="pt-BR" sz="800" dirty="0">
              <a:solidFill>
                <a:srgbClr val="7D7D7D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F58021BB-F088-44BE-B7D1-6FC54778A28E}"/>
              </a:ext>
            </a:extLst>
          </p:cNvPr>
          <p:cNvSpPr/>
          <p:nvPr/>
        </p:nvSpPr>
        <p:spPr>
          <a:xfrm>
            <a:off x="792993" y="4853132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Humberto </a:t>
            </a:r>
            <a:r>
              <a:rPr lang="pt-BR" sz="800" b="1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Peres</a:t>
            </a:r>
          </a:p>
          <a:p>
            <a:r>
              <a:rPr lang="pt-BR" sz="800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IR</a:t>
            </a:r>
            <a:endParaRPr lang="pt-BR" sz="800" dirty="0">
              <a:solidFill>
                <a:srgbClr val="7D7D7D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8B3595C4-0EE0-4F4D-9691-0529488F2604}"/>
              </a:ext>
            </a:extLst>
          </p:cNvPr>
          <p:cNvSpPr/>
          <p:nvPr/>
        </p:nvSpPr>
        <p:spPr>
          <a:xfrm>
            <a:off x="792993" y="5548169"/>
            <a:ext cx="2381775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800" b="1" dirty="0" err="1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Julio</a:t>
            </a:r>
            <a:r>
              <a:rPr lang="pt-BR" sz="800" b="1" dirty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pt-BR" sz="800" b="1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Viterbo</a:t>
            </a:r>
          </a:p>
          <a:p>
            <a:r>
              <a:rPr lang="pt-BR" sz="800" dirty="0" err="1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Operations</a:t>
            </a:r>
            <a:endParaRPr lang="pt-BR" sz="800" dirty="0">
              <a:solidFill>
                <a:srgbClr val="7D7D7D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BC5A217-905E-4B14-B58D-B372A23DB78B}"/>
              </a:ext>
            </a:extLst>
          </p:cNvPr>
          <p:cNvSpPr/>
          <p:nvPr/>
        </p:nvSpPr>
        <p:spPr>
          <a:xfrm>
            <a:off x="3835220" y="987016"/>
            <a:ext cx="868473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rgbClr val="424143"/>
                </a:solidFill>
                <a:latin typeface="Open Sans Light" charset="0"/>
                <a:ea typeface="Open Sans Light" charset="0"/>
                <a:cs typeface="Open Sans Light" charset="0"/>
              </a:rPr>
              <a:t>1985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EDE66D01-E5F6-4E88-8277-98B19FC89EC7}"/>
              </a:ext>
            </a:extLst>
          </p:cNvPr>
          <p:cNvSpPr/>
          <p:nvPr/>
        </p:nvSpPr>
        <p:spPr>
          <a:xfrm>
            <a:off x="4771781" y="983979"/>
            <a:ext cx="868473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rgbClr val="424143"/>
                </a:solidFill>
                <a:latin typeface="Open Sans Light" charset="0"/>
                <a:ea typeface="Open Sans Light" charset="0"/>
                <a:cs typeface="Open Sans Light" charset="0"/>
              </a:rPr>
              <a:t>199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AACAC31-AC27-411E-98C1-A5E45E9218FF}"/>
              </a:ext>
            </a:extLst>
          </p:cNvPr>
          <p:cNvSpPr/>
          <p:nvPr/>
        </p:nvSpPr>
        <p:spPr>
          <a:xfrm>
            <a:off x="5708344" y="983978"/>
            <a:ext cx="868473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rgbClr val="424143"/>
                </a:solidFill>
                <a:latin typeface="Open Sans Light" charset="0"/>
                <a:ea typeface="Open Sans Light" charset="0"/>
                <a:cs typeface="Open Sans Light" charset="0"/>
              </a:rPr>
              <a:t>1995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462CDB65-EDAD-4FAD-B6D2-807E4658BBFD}"/>
              </a:ext>
            </a:extLst>
          </p:cNvPr>
          <p:cNvSpPr/>
          <p:nvPr/>
        </p:nvSpPr>
        <p:spPr>
          <a:xfrm>
            <a:off x="6644905" y="983977"/>
            <a:ext cx="868473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rgbClr val="424143"/>
                </a:solidFill>
                <a:latin typeface="Open Sans Light" charset="0"/>
                <a:ea typeface="Open Sans Light" charset="0"/>
                <a:cs typeface="Open Sans Light" charset="0"/>
              </a:rPr>
              <a:t>2000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EBAE1266-ED22-4448-AB3D-2563E94E3320}"/>
              </a:ext>
            </a:extLst>
          </p:cNvPr>
          <p:cNvSpPr/>
          <p:nvPr/>
        </p:nvSpPr>
        <p:spPr>
          <a:xfrm>
            <a:off x="7581467" y="991616"/>
            <a:ext cx="868473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rgbClr val="424143"/>
                </a:solidFill>
                <a:latin typeface="Open Sans Light" charset="0"/>
                <a:ea typeface="Open Sans Light" charset="0"/>
                <a:cs typeface="Open Sans Light" charset="0"/>
              </a:rPr>
              <a:t>2005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3DB054F0-25F9-4C03-A92E-2FCB253EFE5E}"/>
              </a:ext>
            </a:extLst>
          </p:cNvPr>
          <p:cNvSpPr/>
          <p:nvPr/>
        </p:nvSpPr>
        <p:spPr>
          <a:xfrm>
            <a:off x="8518030" y="991616"/>
            <a:ext cx="868473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rgbClr val="424143"/>
                </a:solidFill>
                <a:latin typeface="Open Sans Light" charset="0"/>
                <a:ea typeface="Open Sans Light" charset="0"/>
                <a:cs typeface="Open Sans Light" charset="0"/>
              </a:rPr>
              <a:t>2010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EA94203F-9915-458B-988E-42144B1DD3B1}"/>
              </a:ext>
            </a:extLst>
          </p:cNvPr>
          <p:cNvSpPr/>
          <p:nvPr/>
        </p:nvSpPr>
        <p:spPr>
          <a:xfrm>
            <a:off x="9454590" y="983976"/>
            <a:ext cx="868473" cy="241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rgbClr val="424143"/>
                </a:solidFill>
                <a:latin typeface="Open Sans Light" charset="0"/>
                <a:ea typeface="Open Sans Light" charset="0"/>
                <a:cs typeface="Open Sans Light" charset="0"/>
              </a:rPr>
              <a:t>2015</a:t>
            </a:r>
          </a:p>
        </p:txBody>
      </p:sp>
      <p:grpSp>
        <p:nvGrpSpPr>
          <p:cNvPr id="120" name="Group 119"/>
          <p:cNvGrpSpPr/>
          <p:nvPr/>
        </p:nvGrpSpPr>
        <p:grpSpPr>
          <a:xfrm>
            <a:off x="5238674" y="2415519"/>
            <a:ext cx="6082273" cy="241058"/>
            <a:chOff x="5238674" y="2471315"/>
            <a:chExt cx="6082273" cy="241058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35DB6C5A-01CD-401D-B8C3-5DACD3287CF5}"/>
                </a:ext>
              </a:extLst>
            </p:cNvPr>
            <p:cNvSpPr/>
            <p:nvPr/>
          </p:nvSpPr>
          <p:spPr>
            <a:xfrm>
              <a:off x="5238674" y="2471315"/>
              <a:ext cx="1169732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KPMG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754ED774-A3F6-4A6B-8F93-E87B53508DAC}"/>
                </a:ext>
              </a:extLst>
            </p:cNvPr>
            <p:cNvSpPr/>
            <p:nvPr/>
          </p:nvSpPr>
          <p:spPr>
            <a:xfrm>
              <a:off x="6408406" y="2471315"/>
              <a:ext cx="2856667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viva </a:t>
              </a:r>
              <a:r>
                <a:rPr lang="pt-BR" sz="800" dirty="0" err="1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Investors</a:t>
              </a:r>
              <a:endParaRPr lang="pt-BR" sz="800" dirty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xmlns="" id="{F20D26C8-7CEF-4B0F-A1EE-21EDBCD231B5}"/>
                </a:ext>
              </a:extLst>
            </p:cNvPr>
            <p:cNvSpPr/>
            <p:nvPr/>
          </p:nvSpPr>
          <p:spPr>
            <a:xfrm>
              <a:off x="9265073" y="2471315"/>
              <a:ext cx="1400858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JGP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A9FFE4E4-1317-4B48-9698-7666944BAF3B}"/>
                </a:ext>
              </a:extLst>
            </p:cNvPr>
            <p:cNvSpPr/>
            <p:nvPr/>
          </p:nvSpPr>
          <p:spPr>
            <a:xfrm>
              <a:off x="10662481" y="2471315"/>
              <a:ext cx="658466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6740787" y="3104151"/>
            <a:ext cx="4580160" cy="241058"/>
            <a:chOff x="6740787" y="3152509"/>
            <a:chExt cx="4580160" cy="241058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BFA326C8-96C7-4983-AEEA-1EA3D170BE12}"/>
                </a:ext>
              </a:extLst>
            </p:cNvPr>
            <p:cNvSpPr/>
            <p:nvPr/>
          </p:nvSpPr>
          <p:spPr>
            <a:xfrm>
              <a:off x="6740787" y="3152509"/>
              <a:ext cx="848072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 err="1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Futweb</a:t>
              </a:r>
              <a:endParaRPr lang="pt-BR" sz="800" dirty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xmlns="" id="{71E38A2C-3642-4E60-8F6D-1913DBBC0244}"/>
                </a:ext>
              </a:extLst>
            </p:cNvPr>
            <p:cNvSpPr/>
            <p:nvPr/>
          </p:nvSpPr>
          <p:spPr>
            <a:xfrm>
              <a:off x="10217879" y="3152509"/>
              <a:ext cx="1103068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D918A1F1-FAFA-4100-BFD7-ABB3998F0659}"/>
                </a:ext>
              </a:extLst>
            </p:cNvPr>
            <p:cNvSpPr/>
            <p:nvPr/>
          </p:nvSpPr>
          <p:spPr>
            <a:xfrm>
              <a:off x="7581467" y="3152509"/>
              <a:ext cx="936957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FGV-RJ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xmlns="" id="{F81D1013-3076-4BEA-A71C-867794263C3B}"/>
                </a:ext>
              </a:extLst>
            </p:cNvPr>
            <p:cNvSpPr/>
            <p:nvPr/>
          </p:nvSpPr>
          <p:spPr>
            <a:xfrm>
              <a:off x="8509158" y="3152509"/>
              <a:ext cx="877344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U. Chicago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xmlns="" id="{F5BB2CCA-72C7-46F0-B3E1-176E91A9DA2E}"/>
                </a:ext>
              </a:extLst>
            </p:cNvPr>
            <p:cNvSpPr/>
            <p:nvPr/>
          </p:nvSpPr>
          <p:spPr>
            <a:xfrm>
              <a:off x="9386502" y="3152509"/>
              <a:ext cx="831378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Deutsche</a:t>
              </a:r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3870208" y="2071203"/>
            <a:ext cx="7450739" cy="241058"/>
            <a:chOff x="3870208" y="2130718"/>
            <a:chExt cx="7450739" cy="241058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xmlns="" id="{F648C27A-52F5-485B-8CCD-A3E7E1910200}"/>
                </a:ext>
              </a:extLst>
            </p:cNvPr>
            <p:cNvSpPr/>
            <p:nvPr/>
          </p:nvSpPr>
          <p:spPr>
            <a:xfrm>
              <a:off x="3870208" y="2130718"/>
              <a:ext cx="951709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Padrão 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xmlns="" id="{ECAAA9D6-BA16-4F71-A4C3-13C46A0ECE7A}"/>
                </a:ext>
              </a:extLst>
            </p:cNvPr>
            <p:cNvSpPr/>
            <p:nvPr/>
          </p:nvSpPr>
          <p:spPr>
            <a:xfrm>
              <a:off x="8576728" y="2130718"/>
              <a:ext cx="1684942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BRZ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xmlns="" id="{38E3980C-5F52-4351-BE16-74EA9E2D6D5A}"/>
                </a:ext>
              </a:extLst>
            </p:cNvPr>
            <p:cNvSpPr/>
            <p:nvPr/>
          </p:nvSpPr>
          <p:spPr>
            <a:xfrm>
              <a:off x="10217879" y="2130718"/>
              <a:ext cx="1103068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xmlns="" id="{8C01C1D8-265A-45FB-9D96-1430B161E8B8}"/>
                </a:ext>
              </a:extLst>
            </p:cNvPr>
            <p:cNvSpPr/>
            <p:nvPr/>
          </p:nvSpPr>
          <p:spPr>
            <a:xfrm>
              <a:off x="4821918" y="2130718"/>
              <a:ext cx="990320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 err="1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DiMarco</a:t>
              </a:r>
              <a:endParaRPr lang="pt-BR" sz="800" dirty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xmlns="" id="{7C0CF9A8-6CBE-474B-9521-DA2BE37E242A}"/>
                </a:ext>
              </a:extLst>
            </p:cNvPr>
            <p:cNvSpPr/>
            <p:nvPr/>
          </p:nvSpPr>
          <p:spPr>
            <a:xfrm>
              <a:off x="5773626" y="2130718"/>
              <a:ext cx="976903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Quantia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5BE81716-4BF3-4067-B846-5E7344002229}"/>
                </a:ext>
              </a:extLst>
            </p:cNvPr>
            <p:cNvSpPr/>
            <p:nvPr/>
          </p:nvSpPr>
          <p:spPr>
            <a:xfrm>
              <a:off x="6725337" y="2130718"/>
              <a:ext cx="1867148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Boreal</a:t>
              </a: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9072469" y="3448467"/>
            <a:ext cx="2248478" cy="249837"/>
            <a:chOff x="9072469" y="3493106"/>
            <a:chExt cx="2248478" cy="24983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3204C815-8544-42B1-8876-6B0C40AF140A}"/>
                </a:ext>
              </a:extLst>
            </p:cNvPr>
            <p:cNvSpPr/>
            <p:nvPr/>
          </p:nvSpPr>
          <p:spPr>
            <a:xfrm>
              <a:off x="10217879" y="3493106"/>
              <a:ext cx="1103068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A0222EEB-B05B-4A3D-B620-0F2E15A1C0C7}"/>
                </a:ext>
              </a:extLst>
            </p:cNvPr>
            <p:cNvSpPr/>
            <p:nvPr/>
          </p:nvSpPr>
          <p:spPr>
            <a:xfrm>
              <a:off x="9072469" y="3501885"/>
              <a:ext cx="1141387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Bozano </a:t>
              </a: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6740787" y="2759835"/>
            <a:ext cx="4580160" cy="241058"/>
            <a:chOff x="6740787" y="2811912"/>
            <a:chExt cx="4580160" cy="241058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xmlns="" id="{C4757265-8FE5-4645-8ADD-A5462C7A50C2}"/>
                </a:ext>
              </a:extLst>
            </p:cNvPr>
            <p:cNvSpPr/>
            <p:nvPr/>
          </p:nvSpPr>
          <p:spPr>
            <a:xfrm>
              <a:off x="10662482" y="2811912"/>
              <a:ext cx="658465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xmlns="" id="{2362FCF4-125E-42D9-991F-182FFD397778}"/>
                </a:ext>
              </a:extLst>
            </p:cNvPr>
            <p:cNvSpPr/>
            <p:nvPr/>
          </p:nvSpPr>
          <p:spPr>
            <a:xfrm>
              <a:off x="6740787" y="2811912"/>
              <a:ext cx="1899117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Merrill Lynch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E84AAE2C-1D59-497E-A83A-68A2722966FA}"/>
                </a:ext>
              </a:extLst>
            </p:cNvPr>
            <p:cNvSpPr/>
            <p:nvPr/>
          </p:nvSpPr>
          <p:spPr>
            <a:xfrm>
              <a:off x="8592485" y="2811912"/>
              <a:ext cx="917818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JP Morga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xmlns="" id="{AD9624EA-5190-466C-8115-A74ABD2A3173}"/>
                </a:ext>
              </a:extLst>
            </p:cNvPr>
            <p:cNvSpPr/>
            <p:nvPr/>
          </p:nvSpPr>
          <p:spPr>
            <a:xfrm>
              <a:off x="9510303" y="2811912"/>
              <a:ext cx="1155628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Gávea</a:t>
              </a:r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421393" y="5181177"/>
            <a:ext cx="4899554" cy="241058"/>
            <a:chOff x="6421393" y="5207221"/>
            <a:chExt cx="4899554" cy="241058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xmlns="" id="{B63C3E9A-10D0-4BD9-9FC1-7F7CFD1E749C}"/>
                </a:ext>
              </a:extLst>
            </p:cNvPr>
            <p:cNvSpPr/>
            <p:nvPr/>
          </p:nvSpPr>
          <p:spPr>
            <a:xfrm>
              <a:off x="8061282" y="5207221"/>
              <a:ext cx="2156597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RX Investimento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xmlns="" id="{BDB95798-4B96-4BCB-B25A-8E3BC26E15CE}"/>
                </a:ext>
              </a:extLst>
            </p:cNvPr>
            <p:cNvSpPr/>
            <p:nvPr/>
          </p:nvSpPr>
          <p:spPr>
            <a:xfrm>
              <a:off x="10217879" y="5207221"/>
              <a:ext cx="1103068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73F0191A-6935-4692-8ABA-7D43C185EDCE}"/>
                </a:ext>
              </a:extLst>
            </p:cNvPr>
            <p:cNvSpPr/>
            <p:nvPr/>
          </p:nvSpPr>
          <p:spPr>
            <a:xfrm>
              <a:off x="7425586" y="5207221"/>
              <a:ext cx="648659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Turim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xmlns="" id="{8749CA4C-7C23-4552-9CD7-08AAF1D04AE0}"/>
                </a:ext>
              </a:extLst>
            </p:cNvPr>
            <p:cNvSpPr/>
            <p:nvPr/>
          </p:nvSpPr>
          <p:spPr>
            <a:xfrm>
              <a:off x="6421393" y="5207221"/>
              <a:ext cx="1004194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Merrill Lynch</a:t>
              </a: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5287991" y="4145878"/>
            <a:ext cx="6032957" cy="241058"/>
            <a:chOff x="5287991" y="4183079"/>
            <a:chExt cx="6032957" cy="241058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C90DD8DE-F1A8-4038-9765-0C6119567790}"/>
                </a:ext>
              </a:extLst>
            </p:cNvPr>
            <p:cNvSpPr/>
            <p:nvPr/>
          </p:nvSpPr>
          <p:spPr>
            <a:xfrm>
              <a:off x="9313524" y="4183079"/>
              <a:ext cx="813946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raxá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xmlns="" id="{34321153-834E-48CC-BA54-5BB49AB91D76}"/>
                </a:ext>
              </a:extLst>
            </p:cNvPr>
            <p:cNvSpPr/>
            <p:nvPr/>
          </p:nvSpPr>
          <p:spPr>
            <a:xfrm>
              <a:off x="10127470" y="4183079"/>
              <a:ext cx="1193478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xmlns="" id="{A3324603-9865-4209-91F3-26ABBDB58271}"/>
                </a:ext>
              </a:extLst>
            </p:cNvPr>
            <p:cNvSpPr/>
            <p:nvPr/>
          </p:nvSpPr>
          <p:spPr>
            <a:xfrm>
              <a:off x="8546271" y="4183079"/>
              <a:ext cx="767253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Safra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xmlns="" id="{B8820BEF-5AD4-477B-9653-E2C1CE17C8F4}"/>
                </a:ext>
              </a:extLst>
            </p:cNvPr>
            <p:cNvSpPr/>
            <p:nvPr/>
          </p:nvSpPr>
          <p:spPr>
            <a:xfrm>
              <a:off x="6324985" y="4183079"/>
              <a:ext cx="2221286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Santander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xmlns="" id="{BBD7506F-207E-4063-8220-1DFE128D69FB}"/>
                </a:ext>
              </a:extLst>
            </p:cNvPr>
            <p:cNvSpPr/>
            <p:nvPr/>
          </p:nvSpPr>
          <p:spPr>
            <a:xfrm>
              <a:off x="5287991" y="4183079"/>
              <a:ext cx="1036994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Itaú</a:t>
              </a:r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5375154" y="1382571"/>
            <a:ext cx="5945794" cy="241058"/>
            <a:chOff x="5375154" y="1449524"/>
            <a:chExt cx="5945794" cy="241058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7D2B250C-ABEF-42ED-AB97-7746FC8A4E95}"/>
                </a:ext>
              </a:extLst>
            </p:cNvPr>
            <p:cNvSpPr/>
            <p:nvPr/>
          </p:nvSpPr>
          <p:spPr>
            <a:xfrm>
              <a:off x="10127470" y="1449524"/>
              <a:ext cx="1193478" cy="241058"/>
            </a:xfrm>
            <a:prstGeom prst="rect">
              <a:avLst/>
            </a:prstGeom>
            <a:solidFill>
              <a:srgbClr val="29ABE2"/>
            </a:solidFill>
            <a:ln w="254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E62EFCE2-A747-4EDD-B021-3AD3ECBF1485}"/>
                </a:ext>
              </a:extLst>
            </p:cNvPr>
            <p:cNvSpPr/>
            <p:nvPr/>
          </p:nvSpPr>
          <p:spPr>
            <a:xfrm>
              <a:off x="8384012" y="1449524"/>
              <a:ext cx="1743458" cy="241058"/>
            </a:xfrm>
            <a:prstGeom prst="rect">
              <a:avLst/>
            </a:prstGeom>
            <a:solidFill>
              <a:srgbClr val="29ABE2"/>
            </a:solidFill>
            <a:ln w="254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Safra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E79F40CB-6308-4978-AA8A-F79A3A2FC54B}"/>
                </a:ext>
              </a:extLst>
            </p:cNvPr>
            <p:cNvSpPr/>
            <p:nvPr/>
          </p:nvSpPr>
          <p:spPr>
            <a:xfrm>
              <a:off x="6740787" y="1449524"/>
              <a:ext cx="1709153" cy="241058"/>
            </a:xfrm>
            <a:prstGeom prst="rect">
              <a:avLst/>
            </a:prstGeom>
            <a:solidFill>
              <a:srgbClr val="29ABE2"/>
            </a:solidFill>
            <a:ln w="254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Santander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82727AD7-3814-4F69-AB30-DE067C7DCC94}"/>
                </a:ext>
              </a:extLst>
            </p:cNvPr>
            <p:cNvSpPr/>
            <p:nvPr/>
          </p:nvSpPr>
          <p:spPr>
            <a:xfrm>
              <a:off x="5375154" y="1449524"/>
              <a:ext cx="1375375" cy="241058"/>
            </a:xfrm>
            <a:prstGeom prst="rect">
              <a:avLst/>
            </a:prstGeom>
            <a:solidFill>
              <a:srgbClr val="29ABE2"/>
            </a:solidFill>
            <a:ln w="254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Bozano</a:t>
              </a: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5988495" y="1726887"/>
            <a:ext cx="5336038" cy="241058"/>
            <a:chOff x="5988495" y="1790121"/>
            <a:chExt cx="5336038" cy="241058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3CB34665-24C1-477E-8F51-B80AE4658301}"/>
                </a:ext>
              </a:extLst>
            </p:cNvPr>
            <p:cNvSpPr/>
            <p:nvPr/>
          </p:nvSpPr>
          <p:spPr>
            <a:xfrm>
              <a:off x="10217879" y="1790121"/>
              <a:ext cx="1106654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A28E1F92-E27A-415C-B3D9-5C3E4EA8253E}"/>
                </a:ext>
              </a:extLst>
            </p:cNvPr>
            <p:cNvSpPr/>
            <p:nvPr/>
          </p:nvSpPr>
          <p:spPr>
            <a:xfrm>
              <a:off x="8192853" y="1790121"/>
              <a:ext cx="2025026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Santander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7648E504-F4AA-4CFC-865B-99CD02350495}"/>
                </a:ext>
              </a:extLst>
            </p:cNvPr>
            <p:cNvSpPr/>
            <p:nvPr/>
          </p:nvSpPr>
          <p:spPr>
            <a:xfrm>
              <a:off x="6946466" y="1790121"/>
              <a:ext cx="1246387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Votorantim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828F0CAB-23E2-4A63-9898-3BDB5368D8E3}"/>
                </a:ext>
              </a:extLst>
            </p:cNvPr>
            <p:cNvSpPr/>
            <p:nvPr/>
          </p:nvSpPr>
          <p:spPr>
            <a:xfrm>
              <a:off x="5988495" y="1790121"/>
              <a:ext cx="957971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Deutsche</a:t>
              </a: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8688469" y="5525495"/>
            <a:ext cx="2632478" cy="245007"/>
            <a:chOff x="8688469" y="5547817"/>
            <a:chExt cx="2632478" cy="245007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xmlns="" id="{4BD95277-BA57-49A7-B352-7002AE0824E0}"/>
                </a:ext>
              </a:extLst>
            </p:cNvPr>
            <p:cNvSpPr/>
            <p:nvPr/>
          </p:nvSpPr>
          <p:spPr>
            <a:xfrm>
              <a:off x="9236542" y="5551766"/>
              <a:ext cx="981335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Leste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xmlns="" id="{CF727F6D-B056-4D90-802F-4C001246A4E0}"/>
                </a:ext>
              </a:extLst>
            </p:cNvPr>
            <p:cNvSpPr/>
            <p:nvPr/>
          </p:nvSpPr>
          <p:spPr>
            <a:xfrm>
              <a:off x="10217879" y="5547817"/>
              <a:ext cx="1103068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xmlns="" id="{893CAE73-C50C-432E-8E26-690060EC8E25}"/>
                </a:ext>
              </a:extLst>
            </p:cNvPr>
            <p:cNvSpPr/>
            <p:nvPr/>
          </p:nvSpPr>
          <p:spPr>
            <a:xfrm>
              <a:off x="8688469" y="5551766"/>
              <a:ext cx="548073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BBM</a:t>
              </a:r>
            </a:p>
          </p:txBody>
        </p:sp>
      </p:grpSp>
      <p:grpSp>
        <p:nvGrpSpPr>
          <p:cNvPr id="127" name="Group 126"/>
          <p:cNvGrpSpPr/>
          <p:nvPr/>
        </p:nvGrpSpPr>
        <p:grpSpPr>
          <a:xfrm>
            <a:off x="6289206" y="4836861"/>
            <a:ext cx="5031741" cy="241058"/>
            <a:chOff x="6289206" y="4866624"/>
            <a:chExt cx="5031741" cy="241058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xmlns="" id="{D2CB9A33-7E6F-4817-9196-7E5722FCA122}"/>
                </a:ext>
              </a:extLst>
            </p:cNvPr>
            <p:cNvSpPr/>
            <p:nvPr/>
          </p:nvSpPr>
          <p:spPr>
            <a:xfrm>
              <a:off x="8074245" y="4866624"/>
              <a:ext cx="2143633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ICAP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xmlns="" id="{DDE863FE-5657-4373-92FF-F769A9F3E24A}"/>
                </a:ext>
              </a:extLst>
            </p:cNvPr>
            <p:cNvSpPr/>
            <p:nvPr/>
          </p:nvSpPr>
          <p:spPr>
            <a:xfrm>
              <a:off x="10217879" y="4866624"/>
              <a:ext cx="1103068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2964A4C4-4592-456E-83EC-D990D5ECDE5D}"/>
                </a:ext>
              </a:extLst>
            </p:cNvPr>
            <p:cNvSpPr/>
            <p:nvPr/>
          </p:nvSpPr>
          <p:spPr>
            <a:xfrm>
              <a:off x="7506434" y="4866624"/>
              <a:ext cx="567812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GFI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xmlns="" id="{F4009C7C-5899-471D-A30A-7DA1619796F9}"/>
                </a:ext>
              </a:extLst>
            </p:cNvPr>
            <p:cNvSpPr/>
            <p:nvPr/>
          </p:nvSpPr>
          <p:spPr>
            <a:xfrm>
              <a:off x="6289206" y="4866624"/>
              <a:ext cx="1224171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Liquidez</a:t>
              </a: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8694046" y="3801562"/>
            <a:ext cx="2626900" cy="241058"/>
            <a:chOff x="8694046" y="3841307"/>
            <a:chExt cx="2626900" cy="241058"/>
          </a:xfrm>
        </p:grpSpPr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xmlns="" id="{452B534F-C757-4501-BFB3-A6888E8B7E95}"/>
                </a:ext>
              </a:extLst>
            </p:cNvPr>
            <p:cNvSpPr/>
            <p:nvPr/>
          </p:nvSpPr>
          <p:spPr>
            <a:xfrm>
              <a:off x="10217878" y="3841307"/>
              <a:ext cx="1103068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xmlns="" id="{F813933E-FCE7-420A-82FA-836A13AABB3B}"/>
                </a:ext>
              </a:extLst>
            </p:cNvPr>
            <p:cNvSpPr/>
            <p:nvPr/>
          </p:nvSpPr>
          <p:spPr>
            <a:xfrm>
              <a:off x="9265074" y="3841307"/>
              <a:ext cx="952804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PUC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xmlns="" id="{28068BD3-0CA5-4530-89B3-3ACB2B2830EF}"/>
                </a:ext>
              </a:extLst>
            </p:cNvPr>
            <p:cNvSpPr/>
            <p:nvPr/>
          </p:nvSpPr>
          <p:spPr>
            <a:xfrm>
              <a:off x="8694046" y="3841307"/>
              <a:ext cx="571026" cy="241058"/>
            </a:xfrm>
            <a:prstGeom prst="rect">
              <a:avLst/>
            </a:prstGeom>
            <a:solidFill>
              <a:srgbClr val="29ABE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BBM</a:t>
              </a:r>
            </a:p>
          </p:txBody>
        </p:sp>
      </p:grpSp>
      <p:grpSp>
        <p:nvGrpSpPr>
          <p:cNvPr id="126" name="Group 125"/>
          <p:cNvGrpSpPr/>
          <p:nvPr/>
        </p:nvGrpSpPr>
        <p:grpSpPr>
          <a:xfrm>
            <a:off x="3879094" y="4490194"/>
            <a:ext cx="7441853" cy="243409"/>
            <a:chOff x="3879094" y="4523676"/>
            <a:chExt cx="7441853" cy="243409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xmlns="" id="{E5B71A50-F3FA-4A78-9682-13111909FD77}"/>
                </a:ext>
              </a:extLst>
            </p:cNvPr>
            <p:cNvSpPr/>
            <p:nvPr/>
          </p:nvSpPr>
          <p:spPr>
            <a:xfrm>
              <a:off x="9424370" y="4523676"/>
              <a:ext cx="793510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 err="1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Fram</a:t>
              </a:r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 Cap.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xmlns="" id="{9C12CB93-DEAC-4240-AB22-A69A7E0F9E9A}"/>
                </a:ext>
              </a:extLst>
            </p:cNvPr>
            <p:cNvSpPr/>
            <p:nvPr/>
          </p:nvSpPr>
          <p:spPr>
            <a:xfrm>
              <a:off x="10217879" y="4523676"/>
              <a:ext cx="1103068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ADAM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xmlns="" id="{CD5C680B-2B1B-47E8-8714-9E295CA4388A}"/>
                </a:ext>
              </a:extLst>
            </p:cNvPr>
            <p:cNvSpPr/>
            <p:nvPr/>
          </p:nvSpPr>
          <p:spPr>
            <a:xfrm>
              <a:off x="3879094" y="4523676"/>
              <a:ext cx="664526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Boa Vista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xmlns="" id="{8CDE1ACC-80CC-436D-BFF9-79CC7A074D8B}"/>
                </a:ext>
              </a:extLst>
            </p:cNvPr>
            <p:cNvSpPr/>
            <p:nvPr/>
          </p:nvSpPr>
          <p:spPr>
            <a:xfrm>
              <a:off x="5548653" y="4523676"/>
              <a:ext cx="829203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Santander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xmlns="" id="{7C176956-B01C-4AE0-8AA9-26C4150C4D6D}"/>
                </a:ext>
              </a:extLst>
            </p:cNvPr>
            <p:cNvSpPr/>
            <p:nvPr/>
          </p:nvSpPr>
          <p:spPr>
            <a:xfrm>
              <a:off x="6386239" y="4523676"/>
              <a:ext cx="849631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RiskMetrics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xmlns="" id="{A273D1DC-8238-4656-8087-AD2EC32A85D7}"/>
                </a:ext>
              </a:extLst>
            </p:cNvPr>
            <p:cNvSpPr/>
            <p:nvPr/>
          </p:nvSpPr>
          <p:spPr>
            <a:xfrm>
              <a:off x="4543620" y="4523676"/>
              <a:ext cx="1005033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 err="1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Credit</a:t>
              </a:r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 </a:t>
              </a:r>
              <a:r>
                <a:rPr lang="pt-BR" sz="800" dirty="0" err="1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Suisse</a:t>
              </a:r>
              <a:endParaRPr lang="pt-BR" sz="800" dirty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xmlns="" id="{D7716289-5CC3-4BDF-9E94-6DEC7C45C18F}"/>
                </a:ext>
              </a:extLst>
            </p:cNvPr>
            <p:cNvSpPr/>
            <p:nvPr/>
          </p:nvSpPr>
          <p:spPr>
            <a:xfrm>
              <a:off x="8697883" y="4523676"/>
              <a:ext cx="726487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XTENO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xmlns="" id="{D0824E0D-8861-4851-9379-FC28D218AC1A}"/>
                </a:ext>
              </a:extLst>
            </p:cNvPr>
            <p:cNvSpPr/>
            <p:nvPr/>
          </p:nvSpPr>
          <p:spPr>
            <a:xfrm>
              <a:off x="8102324" y="4526027"/>
              <a:ext cx="595559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Prada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xmlns="" id="{B505763B-A96E-4C1C-AFA7-D0B629716017}"/>
                </a:ext>
              </a:extLst>
            </p:cNvPr>
            <p:cNvSpPr/>
            <p:nvPr/>
          </p:nvSpPr>
          <p:spPr>
            <a:xfrm>
              <a:off x="7253563" y="4525664"/>
              <a:ext cx="848762" cy="241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FinanTech</a:t>
              </a:r>
            </a:p>
          </p:txBody>
        </p:sp>
      </p:grpSp>
      <p:sp>
        <p:nvSpPr>
          <p:cNvPr id="92" name="Content Placeholder 1">
            <a:extLst>
              <a:ext uri="{FF2B5EF4-FFF2-40B4-BE49-F238E27FC236}">
                <a16:creationId xmlns:a16="http://schemas.microsoft.com/office/drawing/2014/main" xmlns="" id="{7D2577B8-0282-4714-8B19-F5C6AEC078FD}"/>
              </a:ext>
            </a:extLst>
          </p:cNvPr>
          <p:cNvSpPr txBox="1">
            <a:spLocks/>
          </p:cNvSpPr>
          <p:nvPr/>
        </p:nvSpPr>
        <p:spPr>
          <a:xfrm>
            <a:off x="789779" y="5969572"/>
            <a:ext cx="3045441" cy="231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200" kern="1200">
                <a:solidFill>
                  <a:srgbClr val="073E87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700" dirty="0" err="1">
                <a:solidFill>
                  <a:schemeClr val="bg1">
                    <a:lumMod val="5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Source</a:t>
            </a:r>
            <a:r>
              <a:rPr lang="pt-BR" sz="700" dirty="0">
                <a:solidFill>
                  <a:schemeClr val="bg1">
                    <a:lumMod val="5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: ADAMCapital</a:t>
            </a:r>
          </a:p>
        </p:txBody>
      </p:sp>
      <p:pic>
        <p:nvPicPr>
          <p:cNvPr id="107" name="Picture 10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3149" y="6325556"/>
            <a:ext cx="1068624" cy="183484"/>
          </a:xfrm>
          <a:prstGeom prst="rect">
            <a:avLst/>
          </a:prstGeom>
        </p:spPr>
      </p:pic>
      <p:sp>
        <p:nvSpPr>
          <p:cNvPr id="108" name="Content Placeholder 1">
            <a:extLst>
              <a:ext uri="{FF2B5EF4-FFF2-40B4-BE49-F238E27FC236}">
                <a16:creationId xmlns:a16="http://schemas.microsoft.com/office/drawing/2014/main" xmlns="" id="{7D2577B8-0282-4714-8B19-F5C6AEC078FD}"/>
              </a:ext>
            </a:extLst>
          </p:cNvPr>
          <p:cNvSpPr txBox="1">
            <a:spLocks/>
          </p:cNvSpPr>
          <p:nvPr/>
        </p:nvSpPr>
        <p:spPr>
          <a:xfrm>
            <a:off x="4573280" y="6301744"/>
            <a:ext cx="3045441" cy="231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200" kern="1200">
                <a:solidFill>
                  <a:srgbClr val="073E87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800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5</a:t>
            </a:r>
            <a:endParaRPr lang="pt-BR" sz="800" dirty="0">
              <a:solidFill>
                <a:srgbClr val="7D7D7D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>
            <a:off x="3797486" y="865814"/>
            <a:ext cx="0" cy="502791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9406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3149" y="6325556"/>
            <a:ext cx="1068624" cy="183484"/>
          </a:xfrm>
          <a:prstGeom prst="rect">
            <a:avLst/>
          </a:prstGeom>
        </p:spPr>
      </p:pic>
      <p:sp>
        <p:nvSpPr>
          <p:cNvPr id="3" name="Content Placeholder 1">
            <a:extLst>
              <a:ext uri="{FF2B5EF4-FFF2-40B4-BE49-F238E27FC236}">
                <a16:creationId xmlns:a16="http://schemas.microsoft.com/office/drawing/2014/main" xmlns="" id="{7D2577B8-0282-4714-8B19-F5C6AEC078FD}"/>
              </a:ext>
            </a:extLst>
          </p:cNvPr>
          <p:cNvSpPr txBox="1">
            <a:spLocks/>
          </p:cNvSpPr>
          <p:nvPr/>
        </p:nvSpPr>
        <p:spPr>
          <a:xfrm>
            <a:off x="4573280" y="6301744"/>
            <a:ext cx="3045441" cy="231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200" kern="1200">
                <a:solidFill>
                  <a:srgbClr val="073E87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800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6</a:t>
            </a:r>
            <a:endParaRPr lang="pt-BR" sz="800" dirty="0">
              <a:solidFill>
                <a:srgbClr val="7D7D7D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6268E59B-43ED-4D80-8FF1-1017836E98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591731"/>
              </p:ext>
            </p:extLst>
          </p:nvPr>
        </p:nvGraphicFramePr>
        <p:xfrm>
          <a:off x="766763" y="1391152"/>
          <a:ext cx="10477500" cy="1490149"/>
        </p:xfrm>
        <a:graphic>
          <a:graphicData uri="http://schemas.openxmlformats.org/drawingml/2006/table">
            <a:tbl>
              <a:tblPr/>
              <a:tblGrid>
                <a:gridCol w="698500">
                  <a:extLst>
                    <a:ext uri="{9D8B030D-6E8A-4147-A177-3AD203B41FA5}">
                      <a16:colId xmlns:a16="http://schemas.microsoft.com/office/drawing/2014/main" xmlns="" val="161948509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1393466278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908457224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2201805965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1284540466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1416753460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2144969926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2059181505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4188909600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270551605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1744872063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3037344797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1162665953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1217211790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xmlns="" val="785888219"/>
                    </a:ext>
                  </a:extLst>
                </a:gridCol>
              </a:tblGrid>
              <a:tr h="252000">
                <a:tc gridSpan="15">
                  <a:txBody>
                    <a:bodyPr/>
                    <a:lstStyle/>
                    <a:p>
                      <a:pPr algn="ctr" fontAlgn="ctr"/>
                      <a:r>
                        <a:rPr lang="pt-BR" sz="1050" b="1" i="0" u="none" strike="noStrike" dirty="0">
                          <a:solidFill>
                            <a:srgbClr val="29ABE2"/>
                          </a:solidFill>
                          <a:effectLst/>
                          <a:latin typeface="Open Sans" charset="0"/>
                          <a:ea typeface="Open Sans" charset="0"/>
                          <a:cs typeface="Open Sans" charset="0"/>
                        </a:rPr>
                        <a:t> (%) ADAM Advanced II – Average AUM R$ 235.401.855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9430326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Jan</a:t>
                      </a:r>
                    </a:p>
                  </a:txBody>
                  <a:tcPr marL="9525" marR="9525" marT="9525"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Feb</a:t>
                      </a:r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Mar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Apr</a:t>
                      </a:r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May</a:t>
                      </a:r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Jun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Jul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Aug</a:t>
                      </a:r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Sep</a:t>
                      </a:r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Oct</a:t>
                      </a:r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err="1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Nov</a:t>
                      </a:r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Dec</a:t>
                      </a:r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Year</a:t>
                      </a:r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Start</a:t>
                      </a:r>
                      <a:endParaRPr lang="pt-BR" sz="8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693271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4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00" b="0" i="0" u="none" strike="noStrike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6376"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118ACB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2016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49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5,84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6,54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28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4,47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8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81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8,96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8,97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8,97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627633927"/>
                  </a:ext>
                </a:extLst>
              </a:tr>
              <a:tr h="226376"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7D7D7D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CDI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1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6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1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21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1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5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4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2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9,26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9,26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657935292"/>
                  </a:ext>
                </a:extLst>
              </a:tr>
              <a:tr h="226376"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118ACB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201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0,42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7,57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,85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57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9,78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03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4,91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,91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5,54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47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5,47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61,82</a:t>
                      </a:r>
                      <a:endParaRPr lang="pt-BR" sz="900" b="1" i="0" u="none" strike="noStrike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002927033"/>
                  </a:ext>
                </a:extLst>
              </a:tr>
              <a:tr h="226376"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7D7D7D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CDI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8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6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5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79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93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1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0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0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64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64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8,74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8,81</a:t>
                      </a:r>
                      <a:endParaRPr lang="pt-BR" sz="900" b="1" i="0" u="none" strike="noStrike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538629217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99A1F71E-CB5B-4B5C-9426-BC1820B903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200137"/>
              </p:ext>
            </p:extLst>
          </p:nvPr>
        </p:nvGraphicFramePr>
        <p:xfrm>
          <a:off x="766763" y="3059612"/>
          <a:ext cx="10479600" cy="1490398"/>
        </p:xfrm>
        <a:graphic>
          <a:graphicData uri="http://schemas.openxmlformats.org/drawingml/2006/table">
            <a:tbl>
              <a:tblPr/>
              <a:tblGrid>
                <a:gridCol w="698640">
                  <a:extLst>
                    <a:ext uri="{9D8B030D-6E8A-4147-A177-3AD203B41FA5}">
                      <a16:colId xmlns:a16="http://schemas.microsoft.com/office/drawing/2014/main" xmlns="" val="3749950923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1953197453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4121780710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153869460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330610857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2632135447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962419774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2980128489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2355933045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2819520071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2354169405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736258381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2511031532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4061503172"/>
                    </a:ext>
                  </a:extLst>
                </a:gridCol>
                <a:gridCol w="698640">
                  <a:extLst>
                    <a:ext uri="{9D8B030D-6E8A-4147-A177-3AD203B41FA5}">
                      <a16:colId xmlns:a16="http://schemas.microsoft.com/office/drawing/2014/main" xmlns="" val="3200541152"/>
                    </a:ext>
                  </a:extLst>
                </a:gridCol>
              </a:tblGrid>
              <a:tr h="253575">
                <a:tc gridSpan="15"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1050" b="1" i="0" u="none" strike="noStrike" kern="1200" dirty="0">
                          <a:solidFill>
                            <a:srgbClr val="29ABE2"/>
                          </a:solidFill>
                          <a:effectLst/>
                          <a:latin typeface="Open Sans" charset="0"/>
                          <a:ea typeface="Open Sans" charset="0"/>
                          <a:cs typeface="Open Sans" charset="0"/>
                        </a:rPr>
                        <a:t> (%) ADAM Macro II – </a:t>
                      </a:r>
                      <a:r>
                        <a:rPr lang="pt-BR" sz="1050" b="1" i="0" u="none" strike="noStrike" dirty="0">
                          <a:solidFill>
                            <a:srgbClr val="29ABE2"/>
                          </a:solidFill>
                          <a:effectLst/>
                          <a:latin typeface="Open Sans" charset="0"/>
                          <a:ea typeface="Open Sans" charset="0"/>
                          <a:cs typeface="Open Sans" charset="0"/>
                        </a:rPr>
                        <a:t>Average AUM </a:t>
                      </a:r>
                      <a:r>
                        <a:rPr lang="pt-BR" sz="1050" b="1" i="0" u="none" strike="noStrike" kern="1200" dirty="0">
                          <a:solidFill>
                            <a:srgbClr val="29ABE2"/>
                          </a:solidFill>
                          <a:effectLst/>
                          <a:latin typeface="Open Sans" charset="0"/>
                          <a:ea typeface="Open Sans" charset="0"/>
                          <a:cs typeface="Open Sans" charset="0"/>
                        </a:rPr>
                        <a:t>R$ 2.470.622.744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pt-BR" sz="1200" b="0" i="0" u="none" strike="noStrike" kern="1200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pt-BR" sz="1200" b="0" i="0" u="none" strike="noStrike" kern="1200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pt-BR" sz="1200" b="0" i="0" u="none" strike="noStrike" kern="1200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pt-BR" sz="1200" b="0" i="0" u="none" strike="noStrike" kern="1200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pt-BR" sz="1200" b="0" i="0" u="none" strike="noStrike" kern="1200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60798870"/>
                  </a:ext>
                </a:extLst>
              </a:tr>
              <a:tr h="244510"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Jan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Feb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Mar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Apr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May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Jun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Jul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Aug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Sep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Oct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Nov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Dec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Year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Start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1882748"/>
                  </a:ext>
                </a:extLst>
              </a:tr>
              <a:tr h="81149">
                <a:tc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gridSpan="14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98698176"/>
                  </a:ext>
                </a:extLst>
              </a:tr>
              <a:tr h="227791">
                <a:tc>
                  <a:txBody>
                    <a:bodyPr/>
                    <a:lstStyle/>
                    <a:p>
                      <a:pPr marL="0" algn="r" defTabSz="914377" rtl="0" eaLnBrk="1" fontAlgn="ctr" latinLnBrk="0" hangingPunct="1"/>
                      <a:r>
                        <a:rPr lang="pt-BR" sz="900" b="0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2016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28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,95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3,21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23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,28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13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32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4,07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6,47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6,47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4298145"/>
                  </a:ext>
                </a:extLst>
              </a:tr>
              <a:tr h="227791">
                <a:tc>
                  <a:txBody>
                    <a:bodyPr/>
                    <a:lstStyle/>
                    <a:p>
                      <a:pPr marL="0" algn="r" defTabSz="914377" rtl="0" eaLnBrk="1" fontAlgn="ctr" latinLnBrk="0" hangingPunct="1"/>
                      <a:r>
                        <a:rPr lang="pt-BR" sz="900" b="0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CDI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1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6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1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21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1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5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4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2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9,26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9,26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02332831"/>
                  </a:ext>
                </a:extLst>
              </a:tr>
              <a:tr h="227791">
                <a:tc>
                  <a:txBody>
                    <a:bodyPr/>
                    <a:lstStyle/>
                    <a:p>
                      <a:pPr marL="0" algn="r" defTabSz="914377" rtl="0" eaLnBrk="1" fontAlgn="ctr" latinLnBrk="0" hangingPunct="1"/>
                      <a:r>
                        <a:rPr lang="pt-BR" sz="900" b="0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201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4,68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3,40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65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20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3,52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40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,51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62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,56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93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4,70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33,59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69712015"/>
                  </a:ext>
                </a:extLst>
              </a:tr>
              <a:tr h="227791">
                <a:tc>
                  <a:txBody>
                    <a:bodyPr/>
                    <a:lstStyle/>
                    <a:p>
                      <a:pPr marL="0" algn="r" defTabSz="914377" rtl="0" eaLnBrk="1" fontAlgn="ctr" latinLnBrk="0" hangingPunct="1"/>
                      <a:r>
                        <a:rPr lang="pt-BR" sz="900" b="0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CDI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8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6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5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79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93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1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0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0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64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64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8,74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8,81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415817662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FB5D704-BEF7-4C9E-B8A1-2D07217A14EE}"/>
              </a:ext>
            </a:extLst>
          </p:cNvPr>
          <p:cNvSpPr/>
          <p:nvPr/>
        </p:nvSpPr>
        <p:spPr>
          <a:xfrm>
            <a:off x="766763" y="6153149"/>
            <a:ext cx="2077813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700" dirty="0">
                <a:solidFill>
                  <a:schemeClr val="bg1">
                    <a:lumMod val="5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¹Source: ADAMCapital, data base: 10/31/2017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ABC879-14A3-41AC-9E79-4A15697EC666}"/>
              </a:ext>
            </a:extLst>
          </p:cNvPr>
          <p:cNvSpPr txBox="1"/>
          <p:nvPr/>
        </p:nvSpPr>
        <p:spPr>
          <a:xfrm>
            <a:off x="677099" y="1007068"/>
            <a:ext cx="66264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>
                <a:solidFill>
                  <a:srgbClr val="424143"/>
                </a:solidFill>
                <a:latin typeface="Open Sans Semibold" charset="0"/>
                <a:ea typeface="Open Sans Semibold" charset="0"/>
                <a:cs typeface="Open Sans Semibold" charset="0"/>
              </a:rPr>
              <a:t>Performance: ADAM Advanced, ADAM Macro </a:t>
            </a:r>
            <a:r>
              <a:rPr lang="pt-BR" sz="1200" b="1" dirty="0" err="1">
                <a:solidFill>
                  <a:srgbClr val="424143"/>
                </a:solidFill>
                <a:latin typeface="Open Sans Semibold" charset="0"/>
                <a:ea typeface="Open Sans Semibold" charset="0"/>
                <a:cs typeface="Open Sans Semibold" charset="0"/>
              </a:rPr>
              <a:t>and</a:t>
            </a:r>
            <a:r>
              <a:rPr lang="pt-BR" sz="1200" b="1" dirty="0">
                <a:solidFill>
                  <a:srgbClr val="424143"/>
                </a:solidFill>
                <a:latin typeface="Open Sans Semibold" charset="0"/>
                <a:ea typeface="Open Sans Semibold" charset="0"/>
                <a:cs typeface="Open Sans Semibold" charset="0"/>
              </a:rPr>
              <a:t> Previdência (</a:t>
            </a:r>
            <a:r>
              <a:rPr lang="pt-BR" sz="1200" b="1" dirty="0" err="1">
                <a:solidFill>
                  <a:srgbClr val="424143"/>
                </a:solidFill>
                <a:latin typeface="Open Sans Semibold" charset="0"/>
                <a:ea typeface="Open Sans Semibold" charset="0"/>
                <a:cs typeface="Open Sans Semibold" charset="0"/>
              </a:rPr>
              <a:t>pension</a:t>
            </a:r>
            <a:r>
              <a:rPr lang="pt-BR" sz="1200" b="1" dirty="0">
                <a:solidFill>
                  <a:srgbClr val="424143"/>
                </a:solidFill>
                <a:latin typeface="Open Sans Semibold" charset="0"/>
                <a:ea typeface="Open Sans Semibold" charset="0"/>
                <a:cs typeface="Open Sans Semibold" charset="0"/>
              </a:rPr>
              <a:t> </a:t>
            </a:r>
            <a:r>
              <a:rPr lang="pt-BR" sz="1200" b="1" dirty="0" err="1" smtClean="0">
                <a:solidFill>
                  <a:srgbClr val="424143"/>
                </a:solidFill>
                <a:latin typeface="Open Sans Semibold" charset="0"/>
                <a:ea typeface="Open Sans Semibold" charset="0"/>
                <a:cs typeface="Open Sans Semibold" charset="0"/>
              </a:rPr>
              <a:t>fund’s</a:t>
            </a:r>
            <a:r>
              <a:rPr lang="pt-BR" sz="1200" b="1" dirty="0" smtClean="0">
                <a:solidFill>
                  <a:srgbClr val="424143"/>
                </a:solidFill>
                <a:latin typeface="Open Sans Semibold" charset="0"/>
                <a:ea typeface="Open Sans Semibold" charset="0"/>
                <a:cs typeface="Open Sans Semibold" charset="0"/>
              </a:rPr>
              <a:t> </a:t>
            </a:r>
            <a:r>
              <a:rPr lang="pt-BR" sz="1200" b="1" dirty="0">
                <a:solidFill>
                  <a:srgbClr val="424143"/>
                </a:solidFill>
                <a:latin typeface="Open Sans Semibold" charset="0"/>
                <a:ea typeface="Open Sans Semibold" charset="0"/>
                <a:cs typeface="Open Sans Semibold" charset="0"/>
              </a:rPr>
              <a:t>portfolio)</a:t>
            </a:r>
            <a:endParaRPr lang="en-US" sz="1200" b="1" dirty="0">
              <a:solidFill>
                <a:srgbClr val="424143"/>
              </a:solidFill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xmlns="" id="{A1182AEA-32EF-44B8-AF6A-2B2F3FC3B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9460681"/>
              </p:ext>
            </p:extLst>
          </p:nvPr>
        </p:nvGraphicFramePr>
        <p:xfrm>
          <a:off x="766764" y="4728322"/>
          <a:ext cx="10476000" cy="1490398"/>
        </p:xfrm>
        <a:graphic>
          <a:graphicData uri="http://schemas.openxmlformats.org/drawingml/2006/table">
            <a:tbl>
              <a:tblPr/>
              <a:tblGrid>
                <a:gridCol w="698400">
                  <a:extLst>
                    <a:ext uri="{9D8B030D-6E8A-4147-A177-3AD203B41FA5}">
                      <a16:colId xmlns:a16="http://schemas.microsoft.com/office/drawing/2014/main" xmlns="" val="4204528810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3400949865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112381726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282600349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1855420759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736212195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1064691422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171581195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385977259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3124730493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532967412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110266438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2566147629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3732017544"/>
                    </a:ext>
                  </a:extLst>
                </a:gridCol>
                <a:gridCol w="698400">
                  <a:extLst>
                    <a:ext uri="{9D8B030D-6E8A-4147-A177-3AD203B41FA5}">
                      <a16:colId xmlns:a16="http://schemas.microsoft.com/office/drawing/2014/main" xmlns="" val="795963477"/>
                    </a:ext>
                  </a:extLst>
                </a:gridCol>
              </a:tblGrid>
              <a:tr h="293553">
                <a:tc gridSpan="15"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1050" b="1" i="0" u="none" strike="noStrike" kern="1200" dirty="0">
                          <a:solidFill>
                            <a:srgbClr val="29ABE2"/>
                          </a:solidFill>
                          <a:effectLst/>
                          <a:latin typeface="Open Sans" charset="0"/>
                          <a:ea typeface="Open Sans" charset="0"/>
                          <a:cs typeface="Open Sans" charset="0"/>
                        </a:rPr>
                        <a:t>(%) ADAM ICATU Previdenciario – Average AUM R$ 272.406.83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pt-BR" sz="1200" b="0" i="0" u="none" strike="noStrike" kern="1200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pt-BR" sz="1200" b="0" i="0" u="none" strike="noStrike" kern="1200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pt-BR" sz="1200" b="0" i="0" u="none" strike="noStrike" kern="1200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pt-BR" sz="1200" b="0" i="0" u="none" strike="noStrike" kern="1200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pt-BR" sz="1200" b="0" i="0" u="none" strike="noStrike" kern="1200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0966290"/>
                  </a:ext>
                </a:extLst>
              </a:tr>
              <a:tr h="206378"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Jan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Feb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Mar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Apr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May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Jun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Jul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Aug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Sep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Oct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Nov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Dec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err="1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Year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800" b="0" i="0" u="none" strike="noStrike" kern="1200" dirty="0" smtClean="0">
                          <a:solidFill>
                            <a:srgbClr val="424143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Start</a:t>
                      </a:r>
                      <a:endParaRPr lang="pt-BR" sz="800" b="0" i="0" u="none" strike="noStrike" kern="1200" dirty="0">
                        <a:solidFill>
                          <a:srgbClr val="424143"/>
                        </a:solidFill>
                        <a:effectLst/>
                        <a:latin typeface="Open Sans Light" charset="0"/>
                        <a:ea typeface="Open Sans Light" charset="0"/>
                        <a:cs typeface="Open Sans Light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08245618"/>
                  </a:ext>
                </a:extLst>
              </a:tr>
              <a:tr h="93943">
                <a:tc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gridSpan="14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100" b="0" i="0" u="none" strike="noStrike" dirty="0">
                        <a:solidFill>
                          <a:srgbClr val="FFFFFF"/>
                        </a:solidFill>
                        <a:effectLst/>
                        <a:latin typeface="Open Sans" charset="0"/>
                        <a:ea typeface="Open Sans" charset="0"/>
                        <a:cs typeface="Open Sans" charset="0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19360177"/>
                  </a:ext>
                </a:extLst>
              </a:tr>
              <a:tr h="224131">
                <a:tc>
                  <a:txBody>
                    <a:bodyPr/>
                    <a:lstStyle/>
                    <a:p>
                      <a:pPr marL="0" algn="r" defTabSz="914377" rtl="0" eaLnBrk="1" fontAlgn="ctr" latinLnBrk="0" hangingPunct="1"/>
                      <a:r>
                        <a:rPr lang="pt-BR" sz="900" b="0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2016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80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4,53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6,41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6,41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47071720"/>
                  </a:ext>
                </a:extLst>
              </a:tr>
              <a:tr h="224131">
                <a:tc>
                  <a:txBody>
                    <a:bodyPr/>
                    <a:lstStyle/>
                    <a:p>
                      <a:pPr marL="0" algn="r" defTabSz="914377" rtl="0" eaLnBrk="1" fontAlgn="ctr" latinLnBrk="0" hangingPunct="1"/>
                      <a:r>
                        <a:rPr lang="pt-BR" sz="900" b="0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CDI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47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12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59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59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51116336"/>
                  </a:ext>
                </a:extLst>
              </a:tr>
              <a:tr h="224131">
                <a:tc>
                  <a:txBody>
                    <a:bodyPr/>
                    <a:lstStyle/>
                    <a:p>
                      <a:pPr marL="0" algn="r" defTabSz="914377" rtl="0" eaLnBrk="1" fontAlgn="ctr" latinLnBrk="0" hangingPunct="1"/>
                      <a:r>
                        <a:rPr lang="pt-BR" sz="900" b="0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201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4,92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6,28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50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63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7,25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,00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4,20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72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,87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18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5,82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118ACB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23,24</a:t>
                      </a:r>
                      <a:endParaRPr lang="pt-BR" sz="900" b="1" i="0" u="none" strike="noStrike" kern="1200" dirty="0">
                        <a:solidFill>
                          <a:srgbClr val="118ACB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8885930"/>
                  </a:ext>
                </a:extLst>
              </a:tr>
              <a:tr h="224131">
                <a:tc>
                  <a:txBody>
                    <a:bodyPr/>
                    <a:lstStyle/>
                    <a:p>
                      <a:pPr marL="0" algn="r" defTabSz="914377" rtl="0" eaLnBrk="1" fontAlgn="ctr" latinLnBrk="0" hangingPunct="1"/>
                      <a:r>
                        <a:rPr lang="pt-BR" sz="900" b="0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CDI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8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6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,05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79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93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1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0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80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64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0,64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-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8,74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pt-BR" sz="900" b="1" i="0" u="none" strike="noStrike" kern="1200" dirty="0" smtClean="0">
                          <a:solidFill>
                            <a:srgbClr val="7D7D7D"/>
                          </a:solidFill>
                          <a:effectLst/>
                          <a:latin typeface="Open Sans Semibold" charset="0"/>
                          <a:ea typeface="Open Sans Semibold" charset="0"/>
                          <a:cs typeface="Open Sans Semibold" charset="0"/>
                        </a:rPr>
                        <a:t>10,48</a:t>
                      </a:r>
                      <a:endParaRPr lang="pt-BR" sz="900" b="1" i="0" u="none" strike="noStrike" kern="1200" dirty="0">
                        <a:solidFill>
                          <a:srgbClr val="7D7D7D"/>
                        </a:solidFill>
                        <a:effectLst/>
                        <a:latin typeface="Open Sans Semibold" charset="0"/>
                        <a:ea typeface="Open Sans Semibold" charset="0"/>
                        <a:cs typeface="Open Sans Semibold" charset="0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436911778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77099" y="503523"/>
            <a:ext cx="47843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err="1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Flagship</a:t>
            </a:r>
            <a:r>
              <a:rPr lang="pt-BR" sz="2400" b="1" dirty="0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pt-BR" sz="2400" b="1" dirty="0" err="1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Funds</a:t>
            </a:r>
            <a:r>
              <a:rPr lang="pt-BR" sz="2400" b="1" dirty="0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 Performance</a:t>
            </a:r>
            <a:endParaRPr lang="pt-BR" sz="2400" b="1" dirty="0">
              <a:solidFill>
                <a:srgbClr val="118ACB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827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3149" y="6325556"/>
            <a:ext cx="1068624" cy="183484"/>
          </a:xfrm>
          <a:prstGeom prst="rect">
            <a:avLst/>
          </a:prstGeom>
        </p:spPr>
      </p:pic>
      <p:sp>
        <p:nvSpPr>
          <p:cNvPr id="3" name="Content Placeholder 1">
            <a:extLst>
              <a:ext uri="{FF2B5EF4-FFF2-40B4-BE49-F238E27FC236}">
                <a16:creationId xmlns:a16="http://schemas.microsoft.com/office/drawing/2014/main" xmlns="" id="{7D2577B8-0282-4714-8B19-F5C6AEC078FD}"/>
              </a:ext>
            </a:extLst>
          </p:cNvPr>
          <p:cNvSpPr txBox="1">
            <a:spLocks/>
          </p:cNvSpPr>
          <p:nvPr/>
        </p:nvSpPr>
        <p:spPr>
          <a:xfrm>
            <a:off x="4573280" y="6301744"/>
            <a:ext cx="3045441" cy="231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200" kern="1200">
                <a:solidFill>
                  <a:srgbClr val="073E87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800" dirty="0" smtClean="0">
                <a:solidFill>
                  <a:srgbClr val="7D7D7D"/>
                </a:solidFill>
                <a:latin typeface="Open Sans" charset="0"/>
                <a:ea typeface="Open Sans" charset="0"/>
                <a:cs typeface="Open Sans" charset="0"/>
              </a:rPr>
              <a:t>7</a:t>
            </a:r>
            <a:endParaRPr lang="pt-BR" sz="800" dirty="0">
              <a:solidFill>
                <a:srgbClr val="7D7D7D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77099" y="503523"/>
            <a:ext cx="63720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More </a:t>
            </a:r>
            <a:r>
              <a:rPr lang="pt-BR" sz="2400" b="1" dirty="0" err="1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technology</a:t>
            </a:r>
            <a:r>
              <a:rPr lang="pt-BR" sz="2400" b="1" dirty="0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, </a:t>
            </a:r>
            <a:r>
              <a:rPr lang="pt-BR" sz="2400" b="1" dirty="0" err="1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less</a:t>
            </a:r>
            <a:r>
              <a:rPr lang="pt-BR" sz="2400" b="1" dirty="0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pt-BR" sz="2400" b="1" dirty="0" err="1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inflation</a:t>
            </a:r>
            <a:r>
              <a:rPr lang="pt-BR" sz="2400" b="1" dirty="0" smtClean="0">
                <a:solidFill>
                  <a:srgbClr val="118ACB"/>
                </a:solidFill>
                <a:latin typeface="Open Sans" charset="0"/>
                <a:ea typeface="Open Sans" charset="0"/>
                <a:cs typeface="Open Sans" charset="0"/>
              </a:rPr>
              <a:t>?</a:t>
            </a:r>
            <a:endParaRPr lang="pt-BR" sz="2400" b="1" dirty="0">
              <a:solidFill>
                <a:srgbClr val="118ACB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54" name="Content Placeholder 1"/>
          <p:cNvSpPr txBox="1">
            <a:spLocks/>
          </p:cNvSpPr>
          <p:nvPr/>
        </p:nvSpPr>
        <p:spPr>
          <a:xfrm>
            <a:off x="709758" y="5920202"/>
            <a:ext cx="4352474" cy="231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200" kern="1200">
                <a:solidFill>
                  <a:srgbClr val="073E87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None/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latin typeface="Open Sans" charset="0"/>
                <a:ea typeface="Open Sans" charset="0"/>
                <a:cs typeface="Open Sans" charset="0"/>
              </a:rPr>
              <a:t>Fonte: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latin typeface="Open Sans" charset="0"/>
                <a:ea typeface="Open Sans" charset="0"/>
                <a:cs typeface="Open Sans" charset="0"/>
              </a:rPr>
              <a:t>ADAMCapital</a:t>
            </a:r>
            <a:endParaRPr lang="pt-BR" sz="700" dirty="0">
              <a:solidFill>
                <a:prstClr val="white">
                  <a:lumMod val="50000"/>
                </a:prstClr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BDC04911-4E5D-4958-9131-77C17F49E812}"/>
              </a:ext>
            </a:extLst>
          </p:cNvPr>
          <p:cNvSpPr txBox="1"/>
          <p:nvPr/>
        </p:nvSpPr>
        <p:spPr>
          <a:xfrm>
            <a:off x="709758" y="1277257"/>
            <a:ext cx="23855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u="none" strike="noStrike" kern="0" cap="none" spc="0" normalizeH="0" baseline="0" noProof="0" dirty="0" err="1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flation</a:t>
            </a:r>
            <a:r>
              <a:rPr kumimoji="0" lang="pt-BR" sz="1400" b="1" u="none" strike="noStrike" kern="0" cap="none" spc="0" normalizeH="0" baseline="0" noProof="0" dirty="0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kumimoji="0" lang="pt-BR" sz="1400" b="1" u="none" strike="noStrike" kern="0" cap="none" spc="0" normalizeH="0" baseline="0" noProof="0" dirty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G20 (1996-2017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u="none" strike="noStrike" kern="0" cap="none" spc="0" normalizeH="0" baseline="0" noProof="0" dirty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% </a:t>
            </a:r>
            <a:r>
              <a:rPr kumimoji="0" lang="pt-BR" sz="1000" u="none" strike="noStrike" kern="0" cap="none" spc="0" normalizeH="0" baseline="0" noProof="0" dirty="0" err="1" smtClean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annual</a:t>
            </a:r>
            <a:endParaRPr kumimoji="0" lang="en-US" sz="1000" u="none" strike="noStrike" kern="0" cap="none" spc="0" normalizeH="0" baseline="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C42CF52-D49A-46EF-BC36-C07E005B1F36}"/>
              </a:ext>
            </a:extLst>
          </p:cNvPr>
          <p:cNvSpPr txBox="1"/>
          <p:nvPr/>
        </p:nvSpPr>
        <p:spPr>
          <a:xfrm>
            <a:off x="6181112" y="1274378"/>
            <a:ext cx="44181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u="none" strike="noStrike" kern="0" cap="none" spc="0" normalizeH="0" baseline="0" noProof="0" dirty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EUA: </a:t>
            </a:r>
            <a:r>
              <a:rPr kumimoji="0" lang="pt-BR" sz="1400" b="1" u="none" strike="noStrike" kern="0" cap="none" spc="0" normalizeH="0" baseline="0" noProof="0" dirty="0" err="1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flation</a:t>
            </a:r>
            <a:r>
              <a:rPr kumimoji="0" lang="pt-BR" sz="1400" b="1" u="none" strike="noStrike" kern="0" cap="none" spc="0" normalizeH="0" baseline="0" noProof="0" dirty="0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kumimoji="0" lang="pt-BR" sz="1400" b="1" u="none" strike="noStrike" kern="0" cap="none" spc="0" normalizeH="0" baseline="0" noProof="0" dirty="0" err="1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of</a:t>
            </a:r>
            <a:r>
              <a:rPr kumimoji="0" lang="pt-BR" sz="1400" b="1" u="none" strike="noStrike" kern="0" cap="none" spc="0" normalizeH="0" baseline="0" noProof="0" dirty="0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kumimoji="0" lang="pt-BR" sz="1400" b="1" u="none" strike="noStrike" kern="0" cap="none" spc="0" normalizeH="0" baseline="0" noProof="0" dirty="0" err="1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goods</a:t>
            </a:r>
            <a:r>
              <a:rPr kumimoji="0" lang="pt-BR" sz="1400" b="1" u="none" strike="noStrike" kern="0" cap="none" spc="0" normalizeH="0" baseline="0" noProof="0" dirty="0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kumimoji="0" lang="pt-BR" sz="1400" b="1" u="none" strike="noStrike" kern="0" cap="none" spc="0" normalizeH="0" baseline="0" noProof="0" dirty="0" err="1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and</a:t>
            </a:r>
            <a:r>
              <a:rPr kumimoji="0" lang="pt-BR" sz="1400" b="1" u="none" strike="noStrike" kern="0" cap="none" spc="0" normalizeH="0" baseline="0" noProof="0" dirty="0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kumimoji="0" lang="pt-BR" sz="1400" b="1" u="none" strike="noStrike" kern="0" cap="none" spc="0" normalizeH="0" baseline="0" noProof="0" dirty="0" err="1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services</a:t>
            </a:r>
            <a:r>
              <a:rPr kumimoji="0" lang="pt-BR" sz="1400" b="1" u="none" strike="noStrike" kern="0" cap="none" spc="0" normalizeH="0" baseline="0" noProof="0" dirty="0" smtClean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kumimoji="0" lang="pt-BR" sz="1400" b="1" u="none" strike="noStrike" kern="0" cap="none" spc="0" normalizeH="0" baseline="0" noProof="0" dirty="0">
                <a:ln>
                  <a:noFill/>
                </a:ln>
                <a:solidFill>
                  <a:srgbClr val="29ABE2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(1955-2017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u="none" strike="noStrike" kern="0" cap="none" spc="0" normalizeH="0" baseline="0" noProof="0" dirty="0" err="1" smtClean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Acumulated</a:t>
            </a:r>
            <a:r>
              <a:rPr kumimoji="0" lang="pt-BR" sz="1000" u="none" strike="noStrike" kern="0" cap="none" spc="0" normalizeH="0" baseline="0" noProof="0" dirty="0" smtClean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 index (1959 </a:t>
            </a:r>
            <a:r>
              <a:rPr kumimoji="0" lang="pt-BR" sz="1000" u="none" strike="noStrike" kern="0" cap="none" spc="0" normalizeH="0" baseline="0" noProof="0" dirty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= 100)</a:t>
            </a:r>
            <a:endParaRPr kumimoji="0" lang="en-US" sz="1000" u="none" strike="noStrike" kern="0" cap="none" spc="0" normalizeH="0" baseline="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57" name="Content Placeholder 1">
            <a:extLst>
              <a:ext uri="{FF2B5EF4-FFF2-40B4-BE49-F238E27FC236}">
                <a16:creationId xmlns:a16="http://schemas.microsoft.com/office/drawing/2014/main" xmlns="" id="{056F6B60-ABE9-48E5-96EB-2CDA2DF561EC}"/>
              </a:ext>
            </a:extLst>
          </p:cNvPr>
          <p:cNvSpPr txBox="1">
            <a:spLocks/>
          </p:cNvSpPr>
          <p:nvPr/>
        </p:nvSpPr>
        <p:spPr>
          <a:xfrm>
            <a:off x="6305623" y="5915565"/>
            <a:ext cx="4352474" cy="231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200" kern="1200">
                <a:solidFill>
                  <a:srgbClr val="073E87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rgbClr val="073E87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Lucida Sans Unicode" panose="020B0602030504020204" pitchFamily="34" charset="0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None/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latin typeface="Open Sans" charset="0"/>
                <a:ea typeface="Open Sans" charset="0"/>
                <a:cs typeface="Open Sans" charset="0"/>
              </a:rPr>
              <a:t>Fonte: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latin typeface="Open Sans" charset="0"/>
                <a:ea typeface="Open Sans" charset="0"/>
                <a:cs typeface="Open Sans" charset="0"/>
              </a:rPr>
              <a:t>ADAMCapital</a:t>
            </a:r>
            <a:endParaRPr lang="pt-BR" sz="700" dirty="0">
              <a:solidFill>
                <a:prstClr val="white">
                  <a:lumMod val="50000"/>
                </a:prstClr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graphicFrame>
        <p:nvGraphicFramePr>
          <p:cNvPr id="103" name="Object 57">
            <a:extLst>
              <a:ext uri="{FF2B5EF4-FFF2-40B4-BE49-F238E27FC236}">
                <a16:creationId xmlns:a16="http://schemas.microsoft.com/office/drawing/2014/main" xmlns="" id="{55178FA8-C7A5-488C-8AD7-9D34F7C486B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058018"/>
              </p:ext>
            </p:extLst>
          </p:nvPr>
        </p:nvGraphicFramePr>
        <p:xfrm>
          <a:off x="760242" y="1841500"/>
          <a:ext cx="4946822" cy="3632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1FE82ECD-4725-4BE3-A2D3-E97A6A573EB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958252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xmlns="" id="{45F1731F-1086-4988-8273-DB354B0F1E7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596302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C42F64E7-4B7D-42FE-BD47-0639413F6A3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6672002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xmlns="" id="{72FCBD8C-43BA-423A-87E1-C5233FEF915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7386377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xmlns="" id="{3D94F84A-690A-45D8-BB1E-C0C0798975E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7738802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xmlns="" id="{8943A983-C676-4E26-B6BB-2F59B71EA0B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8815127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xmlns="" id="{064DB9FF-9B66-4742-ADF0-BD4E234486A3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9881927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xmlns="" id="{1B4D6B5A-D2D7-450B-9DF2-5560D8D7FC8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10243877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xmlns="" id="{5FB0A403-59C9-4273-BB45-429974DB8E8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11310677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xmlns="" id="{E065E9ED-B9C8-4941-BE88-065B875BC3E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9529502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xmlns="" id="{AD6E0691-62BD-42F9-9423-C0360488A80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9167552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xmlns="" id="{1C715754-E6CA-44C2-982D-7EB84D159C5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8100752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xmlns="" id="{952AA232-7E34-4657-B3BB-AD41D1A1FDE2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8453177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xmlns="" id="{891249A5-F5DE-48B7-A0C1-9CB2EE75117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7024427" y="5248275"/>
            <a:ext cx="0" cy="5080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graphicFrame>
        <p:nvGraphicFramePr>
          <p:cNvPr id="73" name="Object 72">
            <a:extLst>
              <a:ext uri="{FF2B5EF4-FFF2-40B4-BE49-F238E27FC236}">
                <a16:creationId xmlns:a16="http://schemas.microsoft.com/office/drawing/2014/main" xmlns="" id="{6F5EF167-86A0-49A8-BBD7-15737D7EC1FF}"/>
              </a:ext>
            </a:extLst>
          </p:cNvPr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58834833"/>
              </p:ext>
            </p:extLst>
          </p:nvPr>
        </p:nvGraphicFramePr>
        <p:xfrm>
          <a:off x="6533890" y="2128838"/>
          <a:ext cx="4838700" cy="3181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Chart" r:id="rId75" imgW="4838595" imgH="3181417" progId="MSGraph.Chart.8">
                  <p:embed followColorScheme="full"/>
                </p:oleObj>
              </mc:Choice>
              <mc:Fallback>
                <p:oleObj name="Chart" r:id="rId75" imgW="4838595" imgH="318141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6533890" y="2128838"/>
                        <a:ext cx="4838700" cy="3181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xmlns="" id="{FE120C7A-ED25-4F35-8153-0682B21A8432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6306877" y="3938588"/>
            <a:ext cx="244475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C3ACAF-E43A-4252-816D-9F9AC53F7382}" type="datetime'''4''''0''''''''''0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xmlns="" id="{5DAEA5B6-BAC2-4806-AD61-251232C5B298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219565" y="2119313"/>
            <a:ext cx="331788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C8ABE03-28D0-4E90-9F20-ED226435AED1}" type="datetime'''''''''''1''''''.''''''0''''''0''''''0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00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xmlns="" id="{454F8EA0-CD9E-42EE-A060-49ECCB9E3FFA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308465" y="2728913"/>
            <a:ext cx="242888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95CB67-7E0E-4D73-8CBE-80BEA3E5D419}" type="datetime'''''''''8''''0''''''''''0''''''''''''''''''''''''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0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B103A644-7551-4DBC-AD88-4C367D48A841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308465" y="3338513"/>
            <a:ext cx="242888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DA9937-1E76-4F27-B06F-7B6A07631679}" type="datetime'''6''''''''''''''''''''''''''''''''''''0''''''''0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00</a:t>
            </a:fld>
            <a:endParaRPr kumimoji="0" lang="en-US" sz="900" u="none" strike="noStrike" kern="0" cap="none" spc="0" normalizeH="0" baseline="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xmlns="" id="{391A256F-88BB-4B81-BAF9-5D805CD676E0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6316402" y="4548188"/>
            <a:ext cx="234950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46B384A-C00F-476E-932D-A8689BD29C19}" type="datetime'''''''''''''''''''''''''''2''''00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66DA33BE-8C90-4488-953E-F0FF44999BD3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6470390" y="5157788"/>
            <a:ext cx="80963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9E306D-95AE-4955-8790-68ABFB384BFE}" type="datetime'''0''''''''''''''''''''''''''''''''''''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xmlns="" id="{A979F9D9-3A40-4CF5-A6C5-34D928F21407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10820140" y="5387975"/>
            <a:ext cx="276225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DF13C7-D285-44EE-8088-75D85349857D}" type="datetime'''''''''''20''''''''''''''''''''1''''''''''5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5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xmlns="" id="{29110562-8A40-4559-85D6-76C9AD61AFAE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10453427" y="5387975"/>
            <a:ext cx="285750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3283DA0-58B7-4F37-A48C-C0BEF4FC0C53}" type="datetime'''''''''''''''''''''''20''''''''''''''''1''''0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51D78995-E006-4923-B4B5-3C938EAEC4BF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9388215" y="5387975"/>
            <a:ext cx="284163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F7CCE86-C8D7-46CF-8F9C-4D63A6BBA287}" type="datetime'''''''''''199''''''''''''''''''''''''''''''''''5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95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xmlns="" id="{532581FA-BC58-46C1-833D-C0CFC57B495A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7245090" y="5387975"/>
            <a:ext cx="284163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FDB0922-31F4-43AA-B161-E48E84914CCA}" type="datetime'''''''1''''''''''''''''''9''''6''''''''''''''''''''''''''''5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65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xmlns="" id="{DBEB3956-7C3B-4410-9946-F799AFA59812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6878377" y="5387975"/>
            <a:ext cx="293688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B1F70C-6696-44C6-87A8-D8053795B13A}" type="datetime'''''''''''''''''''''''''''1''''9''''6''0''''''''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6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xmlns="" id="{BF0C09EA-1CD5-4F9A-94D1-2B1AF10F51E3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6317990" y="4243388"/>
            <a:ext cx="233363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8FAD91-2571-41CC-A201-94FB977123D6}" type="datetime'''''''''''''3''0''''''''''''0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F38B0FFE-8CCE-4BFA-8E6F-D65B8E5A7A18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9021502" y="5387975"/>
            <a:ext cx="293688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F3CC9C-79C3-4307-923D-2776FF28782B}" type="datetime'''''''''''''19''''''''''''''''9''''0''''''''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9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30134535-9140-4E58-9FE0-77C624E4B201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8673840" y="5387975"/>
            <a:ext cx="284163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F6C316-A2F7-4634-A104-73D673FB1D65}" type="datetime'''''''''1''''''''''''9''''''8''''''''''5''''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85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xmlns="" id="{C7735A69-2462-45D5-A45D-6AF2F1B673E7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9724765" y="5387975"/>
            <a:ext cx="315913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17426A-6E7C-423F-BA22-77B9EE97680D}" type="datetime'''''''''''''''''2''0''''''''''''''''''0''''''''0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0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9251EC50-2579-4F71-81BF-F8A8E3B8BD76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8307127" y="5387975"/>
            <a:ext cx="293688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AF0DC4-B037-4C42-A7F0-909A0A7BB0BC}" type="datetime'1''''''''''''''''''''''''''''''''''98''''0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8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18C5CBBD-FF26-422C-9653-5B73EB39A28E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6317990" y="3033713"/>
            <a:ext cx="233363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E04477-9FFC-4AC6-A2F2-103E9519373F}" type="datetime'''7''''''''''''''''''''''0''''''''''''0''''''''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0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F37CFFFB-DEF4-4547-8547-46DF4406AA3A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7964227" y="5387975"/>
            <a:ext cx="274638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2AA0FB-BC69-4A77-B849-33235B905FCD}" type="datetime'''''''''''''''1''''''''''''''''''97''''''''5''''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75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86BE23CE-D1A2-4282-B780-8E14493719FB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7597515" y="5387975"/>
            <a:ext cx="284163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3FF3B3-9EDD-45DF-8FEB-FEF33AD918EF}" type="datetime'''''''''''''''''''''''''''''''''1''''''9''70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7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AA89A028-9B4A-4D58-8BF2-02489BA11CAF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11156690" y="5387975"/>
            <a:ext cx="307975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D91294-34D4-4EF2-A5D2-3D8549D13F37}" type="datetime'''''2''''''0''''''''''''''''''2''''''''''''''''''0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xmlns="" id="{4455773C-4094-4BCB-B422-526A03BE27A4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6308465" y="2424113"/>
            <a:ext cx="242888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9215286-C8B4-4226-9D4B-3856ED503A8A}" type="datetime'''''''''''9''0''''''''''''''''''''''0''''''''''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0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xmlns="" id="{8FB82767-963A-4FE5-9EDE-18B9109078EF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10091477" y="5387975"/>
            <a:ext cx="306388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8783FB-1C9C-4076-A2C5-2B7B560909AA}" type="datetime'''''''''''''''''2''''''''0''''''''''''''0''''5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05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xmlns="" id="{3A22789E-FA81-4B4A-9AB1-4EF4BEFF2F56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6317990" y="3643313"/>
            <a:ext cx="233363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73C9B65-B111-4B4C-B1F7-BD9BB4903FF7}" type="datetime'''''''''''''''''''5''''''''''''0''''''''''''''''0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xmlns="" id="{A02787F6-00EC-4735-AD92-9BA8E5630096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6535477" y="5387975"/>
            <a:ext cx="274638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0E0FBCD-F2FD-4470-9083-8962B6779BC2}" type="datetime'''1''95''''''''''''''''''''''''''''5''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55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1512907E-DE66-4649-B88E-2B5C2AD1190C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6338627" y="4852988"/>
            <a:ext cx="212725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130E084-64C5-4985-89AC-A3ADDDAC76DE}" type="datetime'''''''''1''''''''''0''''''''0'''''''''''''''''''">
              <a:rPr kumimoji="0" lang="en-US" altLang="en-US" sz="900" u="none" strike="noStrike" kern="0" cap="none" spc="0" normalizeH="0" baseline="0" noProof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0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xmlns="" id="{7598BAD2-4079-400A-9BBB-8D259DB5F6C2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6999158" y="2589213"/>
            <a:ext cx="219075" cy="0"/>
          </a:xfrm>
          <a:prstGeom prst="line">
            <a:avLst/>
          </a:prstGeom>
          <a:noFill/>
          <a:ln w="19050" cap="flat" cmpd="sng" algn="ctr">
            <a:solidFill>
              <a:srgbClr val="29ABE2"/>
            </a:solidFill>
            <a:prstDash val="solid"/>
            <a:miter lim="800000"/>
            <a:headEnd type="none"/>
            <a:tailEnd type="none"/>
          </a:ln>
          <a:effectLst/>
        </p:spPr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xmlns="" id="{EBB6A22C-2C53-451F-83CB-56A9BAF73D04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6999158" y="2355850"/>
            <a:ext cx="219075" cy="0"/>
          </a:xfrm>
          <a:prstGeom prst="line">
            <a:avLst/>
          </a:prstGeom>
          <a:noFill/>
          <a:ln w="19050" cap="flat" cmpd="sng" algn="ctr">
            <a:solidFill>
              <a:srgbClr val="4472C4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xmlns="" id="{B27ED046-EE11-47AC-8ADC-91E019C8079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7269033" y="2505075"/>
            <a:ext cx="546100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u="none" strike="noStrike" kern="0" cap="none" spc="0" normalizeH="0" baseline="0" noProof="0" dirty="0" smtClean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Semibold" charset="0"/>
                <a:ea typeface="Open Sans Semibold" charset="0"/>
                <a:cs typeface="Open Sans Semibold" charset="0"/>
                <a:sym typeface="+mn-lt"/>
              </a:rPr>
              <a:t>Services</a:t>
            </a:r>
            <a:endParaRPr kumimoji="0" lang="en-US" sz="1000" b="1" u="none" strike="noStrike" kern="0" cap="none" spc="0" normalizeH="0" baseline="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Semibold" charset="0"/>
              <a:ea typeface="Open Sans Semibold" charset="0"/>
              <a:cs typeface="Open Sans Semibold" charset="0"/>
              <a:sym typeface="+mn-lt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7A7AEBEB-76BE-41DE-AC01-8622147953D4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7269033" y="2271713"/>
            <a:ext cx="315913" cy="182563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u="none" strike="noStrike" kern="0" cap="none" spc="0" normalizeH="0" baseline="0" noProof="0" dirty="0" smtClean="0">
                <a:ln>
                  <a:noFill/>
                </a:ln>
                <a:solidFill>
                  <a:srgbClr val="7D7D7D"/>
                </a:solidFill>
                <a:effectLst/>
                <a:uLnTx/>
                <a:uFillTx/>
                <a:latin typeface="Open Sans Semibold" charset="0"/>
                <a:ea typeface="Open Sans Semibold" charset="0"/>
                <a:cs typeface="Open Sans Semibold" charset="0"/>
              </a:rPr>
              <a:t>Goods</a:t>
            </a:r>
            <a:endParaRPr kumimoji="0" lang="en-US" sz="1000" b="1" u="none" strike="noStrike" kern="0" cap="none" spc="0" normalizeH="0" baseline="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Open Sans Semibold" charset="0"/>
              <a:ea typeface="Open Sans Semibold" charset="0"/>
              <a:cs typeface="Open Sans Semibold" charset="0"/>
              <a:sym typeface="+mn-lt"/>
            </a:endParaRP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xmlns="" id="{57920679-5A0C-408A-84F9-29CD7C37F9B5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1095648" y="4449387"/>
            <a:ext cx="4629150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xmlns="" id="{49B681CA-0392-435B-8C6D-39709DB302B5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 flipV="1">
            <a:off x="1029740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xmlns="" id="{33C3883E-9067-4ED2-8B48-9ACBD80A632F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 flipV="1">
            <a:off x="3553865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xmlns="" id="{4347FD03-F3D5-4BFF-8F39-70C557D9FDC4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 flipV="1">
            <a:off x="1867940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xmlns="" id="{162617AE-8B64-4F54-A8C3-3D18CF8ADD59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2715665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xmlns="" id="{D201E6E4-0942-4E0C-AFC2-0C9C3DBEC0B3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 flipV="1">
            <a:off x="3134765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xmlns="" id="{1ED0A4FC-2FCC-4D31-AE18-DB36E5E7853F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V="1">
            <a:off x="5658890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xmlns="" id="{0154B46A-8694-43F2-8079-618B895A3EB0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V="1">
            <a:off x="3972965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xmlns="" id="{82DD295D-6373-47E8-8148-E8AD0EA5C01E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V="1">
            <a:off x="4392065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xmlns="" id="{D192B841-4649-4241-854F-2A6D85FE8328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 flipV="1">
            <a:off x="1448840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xmlns="" id="{55125BC1-ACFA-4BA0-A228-9857C35BEEA4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V="1">
            <a:off x="4820690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xmlns="" id="{4F877F1C-05BC-4913-BF3B-CEA2B7BA71D4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 flipV="1">
            <a:off x="5239790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xmlns="" id="{0C7BDB86-060B-4912-AC96-483C2DCB2DA9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V="1">
            <a:off x="2296565" y="5238750"/>
            <a:ext cx="0" cy="508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xmlns="" id="{BA953CF8-D9CF-4E92-B937-E7D7C2F33AF6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883690" y="5378450"/>
            <a:ext cx="293688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0EE1F8-3B83-4144-A018-622C7A1C0EA0}" type="datetime'1''''''''''''''''''''''9''''''''''''9''''6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96</a:t>
            </a:fld>
            <a:endParaRPr lang="en-US" sz="900" dirty="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xmlns="" id="{8C848C0D-079B-432A-A2A7-B1DFF145B17B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5096915" y="5378450"/>
            <a:ext cx="285750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001961-B785-4021-BE2B-3A5742AAE5EC}" type="datetime'''''''''''''''''''2''''''''01''''''''6''''''''''''''''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90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xmlns="" id="{0D96A4F6-E702-4C20-BC4A-56C7E2AAA8F4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1302790" y="5378450"/>
            <a:ext cx="293688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E0F6C12-457B-42C6-8D4E-C98A41E9E146}" type="datetime'''''''''''''''''1''''''9''''9''''''8''''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98</a:t>
            </a:fld>
            <a:endParaRPr lang="en-US" sz="900" dirty="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xmlns="" id="{DF844D1C-2E16-4A4F-9C32-331087A1B00E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4253953" y="5378450"/>
            <a:ext cx="27781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FF86A6B-8354-41DD-AA19-8DB4F161C652}" type="datetime'2''''''''''''''0''''''''''1''''2''''''''''''''''''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90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xmlns="" id="{39576D55-3590-409B-A19E-E072D3CB962B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2556915" y="5378450"/>
            <a:ext cx="317500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15FFED2-8AFA-452E-ACD0-C2216D5190C7}" type="datetime'''2''''''''0''''''''''''''''''0''4''''''''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4</a:t>
            </a:fld>
            <a:endParaRPr lang="en-US" sz="90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xmlns="" id="{AA945119-9A29-4A10-A542-270975BD8680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4677815" y="5378450"/>
            <a:ext cx="287338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1A6B69B-A113-420C-AB60-5107C3AC4AD0}" type="datetime'''''''''''''''201''''''''4''''''''''''''''''''''''''''''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en-US" sz="90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xmlns="" id="{92122452-58F8-4421-91BA-0701588BAD50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2142578" y="5378450"/>
            <a:ext cx="307975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2EB4F31-5617-4C4F-9B1C-F0F78DFFCC12}" type="datetime'''''20''''''''''0''''''''2''''''''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2</a:t>
            </a:fld>
            <a:endParaRPr lang="en-US" sz="90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xmlns="" id="{D7410673-17E4-4BB1-909B-3D7D7305EB0F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3830090" y="5378450"/>
            <a:ext cx="285750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A5BBE37-25A2-43D1-A6A9-E96202ECF916}" type="datetime'20''''''''10''''''''''''''''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/>
              <a:t>2010</a:t>
            </a:fld>
            <a:endParaRPr lang="en-US" sz="900" dirty="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xmlns="" id="{32B2DDD6-27C2-49E5-9DC3-9B270B76FBE2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5516015" y="5378450"/>
            <a:ext cx="285750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F0A3AD5-275B-434D-9270-B68F97718FD1}" type="datetime'''2''''''''''''''''''''''''''''''018''''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90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xmlns="" id="{3ACB9E8A-A43F-4BD6-B1A0-7C098F2CC586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3396703" y="5378450"/>
            <a:ext cx="31591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EBF506-2404-46A7-930A-0CA0C786AA78}" type="datetime'''2''''''0''''''''''0''''8''''''''''''''''''''''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en-US" sz="90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xmlns="" id="{C754FA8A-B6F1-41B6-8E42-CC3ADBDFB51F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2977603" y="5378450"/>
            <a:ext cx="31591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669064C-4928-4EBC-8CFD-99C125BB8F35}" type="datetime'''''2''''''''''''''''''''0''0''''''6''''''''''''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6</a:t>
            </a:fld>
            <a:endParaRPr lang="en-US" sz="900" dirty="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xmlns="" id="{880A4F66-1E6C-4104-9C77-4588C75B950E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1710778" y="5378450"/>
            <a:ext cx="31591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lumMod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72FBC82-B1A8-4640-935A-A1CF9394EE81}" type="datetime'''''''''''2''''''''''''''''''''''''''''''''0''''''''''00'''''">
              <a:rPr lang="en-US" altLang="en-US" sz="900">
                <a:solidFill>
                  <a:srgbClr val="7D7D7D"/>
                </a:solidFill>
                <a:latin typeface="Open Sans Light" charset="0"/>
                <a:ea typeface="Open Sans Light" charset="0"/>
                <a:cs typeface="Open Sans Light" charset="0"/>
                <a:sym typeface="+mn-lt"/>
              </a:rPr>
              <a:pPr/>
              <a:t>2000</a:t>
            </a:fld>
            <a:endParaRPr lang="en-US" sz="900">
              <a:solidFill>
                <a:srgbClr val="7D7D7D"/>
              </a:solidFill>
              <a:latin typeface="Open Sans Light" charset="0"/>
              <a:ea typeface="Open Sans Light" charset="0"/>
              <a:cs typeface="Open Sans Light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829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cRtthT36ViJ_SS0Pf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v3kTjLSPODV15VAx3K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VO6jWtSLa9QQiqhD7m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qxpzIfRIO1E0.EFgtl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_7evZgSrGiX1uN8qEL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6IFObcSj.pv8baSKb8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8mQtMIR7mBVu4rq6pf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JKZx0iTsGWCsm3L0vj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_5MpXoQ5SKiMT1X1qf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FNHM07R4.8VQPjIbrk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y08oj5RpSek340TTD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6XDXmVQnyGljUn9K4N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KK4eneRL6VHZswWF4_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fTx8L0Sii4COoH_8aA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x.1IMETnGT7dGVZPXS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vQV8bQC.JNwCl.1Tw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8_ktZRSBeUq_w5mRV7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97Nu4OTZ.VeO8O.BPC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7KU9wdS1Kte3AF4tzo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eG3CUhRkyIs5_d3WwP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wxFHHbQGehfeRRjCPg3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Jt3sV7QMWkRm_jMZUm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pGLMhTSG.4w9AFF73W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.U6dzHR_GMswLqUeaH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gz5VK3RTKb_879s1QWr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KOu7exQqeMFJkUPWy8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NMJdwWQDKS_Wf_nL6C1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fJSzfQS3u.ZbUw4ofeX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gS5DiAQIqaMSbJfjtk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i92WrdS5uYRPctfzlx5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bRoUazSqaElNfgsXw0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rq_Y44REWW2E9PeGq48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Gkv1M1QfWl4sCFWm.T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dWGnn8QyqtAxb3Z3f3b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g_u7IWSZeIMplD5_g7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hVzNuiQN.Fajkp2Su5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7_JXiHT2eqf4MKVZZ9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2fIlPITg.Ts_xllC2k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TOz_byR4eiBRCQVwhpr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DThJ_cSniMCAgDghAY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PfXjf0RSeRAVfAFrXg8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7CEXlkRaKxMKlnarFW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CgF0mRLKsmLpPuPXY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cMdCTSw6tfF2M4pu9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bjj6WVRuipVM7PwRnx3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0cnd1SSqq1ddGjagDa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Pwg5y1Tr.Z6sCPVRAd2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COvy8JSkOl_IkQEcxs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DaxAR_RL6O2JZpp16v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cJGuI3SNSCWyIjrv2Lp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MB8MMvRO24xMtOokpqi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8kI629RzWN3fla51ZUR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9e0SAoQ_CP7V_pxO3z5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gQT33Tyy.HzJdOvwml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8Fdb4kTreShR2lvRQz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wQQySMQsaZ.BXmEXYrD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CcBfmmQneHaVcqOg5c.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RT_jy1Q5iTVbxDfjBu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jWvNxjSuWxEUiQI0EI5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cKVCBtT8e0EvczkExJ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3DASY7RpiIzbBNpIDrk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v0zCw1TrinYKV4L9YB9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b_4oUPRPminFOf3IzG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VKd_TETkikfKUgOlui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CYwACzRnKSCne7z6H6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VolJHGTHu4SV.3KEhk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GQQrinSL6kYWqixe2dQ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2JkaIERTaD2i43wx_K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kzxRxuRJ6hBUufXA_h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RAncKSTsyHHil0BiN0n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0</TotalTime>
  <Words>504</Words>
  <Application>Microsoft Macintosh PowerPoint</Application>
  <PresentationFormat>Widescreen</PresentationFormat>
  <Paragraphs>375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Calibri</vt:lpstr>
      <vt:lpstr>Calibri Light</vt:lpstr>
      <vt:lpstr>Open Sans</vt:lpstr>
      <vt:lpstr>Open Sans Light</vt:lpstr>
      <vt:lpstr>Open Sans Semibold</vt:lpstr>
      <vt:lpstr>Symbol</vt:lpstr>
      <vt:lpstr>Arial</vt:lpstr>
      <vt:lpstr>Office Them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lario Cichella</dc:creator>
  <cp:lastModifiedBy>Tom Wood</cp:lastModifiedBy>
  <cp:revision>36</cp:revision>
  <dcterms:created xsi:type="dcterms:W3CDTF">2018-01-03T09:33:27Z</dcterms:created>
  <dcterms:modified xsi:type="dcterms:W3CDTF">2018-01-05T19:34:47Z</dcterms:modified>
</cp:coreProperties>
</file>